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ags/tag1.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2.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97" r:id="rId5"/>
    <p:sldMasterId id="2147483709" r:id="rId6"/>
  </p:sldMasterIdLst>
  <p:notesMasterIdLst>
    <p:notesMasterId r:id="rId21"/>
  </p:notesMasterIdLst>
  <p:sldIdLst>
    <p:sldId id="426" r:id="rId7"/>
    <p:sldId id="422" r:id="rId8"/>
    <p:sldId id="433" r:id="rId9"/>
    <p:sldId id="434" r:id="rId10"/>
    <p:sldId id="436" r:id="rId11"/>
    <p:sldId id="435" r:id="rId12"/>
    <p:sldId id="437" r:id="rId13"/>
    <p:sldId id="438" r:id="rId14"/>
    <p:sldId id="430" r:id="rId15"/>
    <p:sldId id="439" r:id="rId16"/>
    <p:sldId id="440" r:id="rId17"/>
    <p:sldId id="442" r:id="rId18"/>
    <p:sldId id="444" r:id="rId19"/>
    <p:sldId id="432" r:id="rId2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C7972"/>
    <a:srgbClr val="0099FF"/>
    <a:srgbClr val="F6F6F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338B4D9-E5C7-406C-B3A2-02F89C1B2D55}" v="4" dt="2023-08-14T15:06:42.76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83" autoAdjust="0"/>
    <p:restoredTop sz="90148" autoAdjust="0"/>
  </p:normalViewPr>
  <p:slideViewPr>
    <p:cSldViewPr snapToObjects="1" showGuides="1">
      <p:cViewPr varScale="1">
        <p:scale>
          <a:sx n="115" d="100"/>
          <a:sy n="115" d="100"/>
        </p:scale>
        <p:origin x="512" y="184"/>
      </p:cViewPr>
      <p:guideLst/>
    </p:cSldViewPr>
  </p:slideViewPr>
  <p:notesTextViewPr>
    <p:cViewPr>
      <p:scale>
        <a:sx n="1" d="1"/>
        <a:sy n="1" d="1"/>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microsoft.com/office/2015/10/relationships/revisionInfo" Target="revisionInfo.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BCD3173-A781-4598-ACF4-F50B32660815}" type="doc">
      <dgm:prSet loTypeId="urn:microsoft.com/office/officeart/2008/layout/LinedList" loCatId="list" qsTypeId="urn:microsoft.com/office/officeart/2005/8/quickstyle/simple4" qsCatId="simple" csTypeId="urn:microsoft.com/office/officeart/2005/8/colors/colorful2" csCatId="colorful" phldr="1"/>
      <dgm:spPr/>
      <dgm:t>
        <a:bodyPr/>
        <a:lstStyle/>
        <a:p>
          <a:endParaRPr lang="en-US"/>
        </a:p>
      </dgm:t>
    </dgm:pt>
    <dgm:pt modelId="{F0721E21-B9D6-4810-A624-BF4769D88BD2}">
      <dgm:prSet custT="1"/>
      <dgm:spPr/>
      <dgm:t>
        <a:bodyPr/>
        <a:lstStyle/>
        <a:p>
          <a:r>
            <a:rPr lang="en-GB" sz="800" dirty="0"/>
            <a:t>Accessibility 8</a:t>
          </a:r>
          <a:endParaRPr lang="en-US" sz="800" dirty="0"/>
        </a:p>
      </dgm:t>
    </dgm:pt>
    <dgm:pt modelId="{643CF228-762C-44FC-842D-5FB11DE65198}" type="parTrans" cxnId="{CF745677-9BA3-40C6-AC8E-DAAB4D5B80A8}">
      <dgm:prSet/>
      <dgm:spPr/>
      <dgm:t>
        <a:bodyPr/>
        <a:lstStyle/>
        <a:p>
          <a:endParaRPr lang="en-US"/>
        </a:p>
      </dgm:t>
    </dgm:pt>
    <dgm:pt modelId="{03AC7B37-19A8-438C-9E9B-4984C5D1A58D}" type="sibTrans" cxnId="{CF745677-9BA3-40C6-AC8E-DAAB4D5B80A8}">
      <dgm:prSet/>
      <dgm:spPr/>
      <dgm:t>
        <a:bodyPr/>
        <a:lstStyle/>
        <a:p>
          <a:endParaRPr lang="en-US"/>
        </a:p>
      </dgm:t>
    </dgm:pt>
    <dgm:pt modelId="{CBBF0C6E-AC02-4BDF-AB2B-19C43C5C9467}">
      <dgm:prSet custT="1"/>
      <dgm:spPr/>
      <dgm:t>
        <a:bodyPr/>
        <a:lstStyle/>
        <a:p>
          <a:r>
            <a:rPr lang="en-GB" sz="1200" dirty="0"/>
            <a:t>Accessibility 12</a:t>
          </a:r>
          <a:endParaRPr lang="en-US" sz="1200" dirty="0"/>
        </a:p>
      </dgm:t>
    </dgm:pt>
    <dgm:pt modelId="{AF603A68-C4C3-46C8-80D7-B78E3924D2FC}" type="parTrans" cxnId="{7D70DAA2-943B-4667-8071-C67DF88EA181}">
      <dgm:prSet/>
      <dgm:spPr/>
      <dgm:t>
        <a:bodyPr/>
        <a:lstStyle/>
        <a:p>
          <a:endParaRPr lang="en-US"/>
        </a:p>
      </dgm:t>
    </dgm:pt>
    <dgm:pt modelId="{2607FF13-86B5-409F-BE8D-D2DCFAC12A7D}" type="sibTrans" cxnId="{7D70DAA2-943B-4667-8071-C67DF88EA181}">
      <dgm:prSet/>
      <dgm:spPr/>
      <dgm:t>
        <a:bodyPr/>
        <a:lstStyle/>
        <a:p>
          <a:endParaRPr lang="en-US"/>
        </a:p>
      </dgm:t>
    </dgm:pt>
    <dgm:pt modelId="{F6A0657C-BAB1-4C0B-9E91-07F9CF82FD9B}">
      <dgm:prSet custT="1"/>
      <dgm:spPr/>
      <dgm:t>
        <a:bodyPr/>
        <a:lstStyle/>
        <a:p>
          <a:r>
            <a:rPr lang="en-GB" sz="1400" dirty="0"/>
            <a:t>Accessibility 14</a:t>
          </a:r>
          <a:endParaRPr lang="en-US" sz="1400" dirty="0"/>
        </a:p>
      </dgm:t>
    </dgm:pt>
    <dgm:pt modelId="{E42CF7A7-00D9-4BAE-A58E-F7530E49588C}" type="parTrans" cxnId="{AFAFFE1D-9492-46BC-B05E-3183F4551E6B}">
      <dgm:prSet/>
      <dgm:spPr/>
      <dgm:t>
        <a:bodyPr/>
        <a:lstStyle/>
        <a:p>
          <a:endParaRPr lang="en-US"/>
        </a:p>
      </dgm:t>
    </dgm:pt>
    <dgm:pt modelId="{A90398F0-7DF0-4941-8DB8-828D8F6BC6B9}" type="sibTrans" cxnId="{AFAFFE1D-9492-46BC-B05E-3183F4551E6B}">
      <dgm:prSet/>
      <dgm:spPr/>
      <dgm:t>
        <a:bodyPr/>
        <a:lstStyle/>
        <a:p>
          <a:endParaRPr lang="en-US"/>
        </a:p>
      </dgm:t>
    </dgm:pt>
    <dgm:pt modelId="{B573DBEE-3C06-4863-A883-DB4687A3D6F4}">
      <dgm:prSet custT="1"/>
      <dgm:spPr/>
      <dgm:t>
        <a:bodyPr/>
        <a:lstStyle/>
        <a:p>
          <a:r>
            <a:rPr lang="en-GB" sz="1800" dirty="0"/>
            <a:t>Accessibility 18</a:t>
          </a:r>
          <a:endParaRPr lang="en-US" sz="1800" dirty="0"/>
        </a:p>
      </dgm:t>
      <dgm:extLst>
        <a:ext uri="{E40237B7-FDA0-4F09-8148-C483321AD2D9}">
          <dgm14:cNvPr xmlns:dgm14="http://schemas.microsoft.com/office/drawing/2010/diagram" id="0" name="" descr="Easy of reading of different  sizes of fonts on screen"/>
        </a:ext>
      </dgm:extLst>
    </dgm:pt>
    <dgm:pt modelId="{3E905A5B-63DC-4FF0-91D4-875B5F312AAE}" type="parTrans" cxnId="{BD9E2603-E59E-441A-82CF-D6E6749A1AEA}">
      <dgm:prSet/>
      <dgm:spPr/>
      <dgm:t>
        <a:bodyPr/>
        <a:lstStyle/>
        <a:p>
          <a:endParaRPr lang="en-US"/>
        </a:p>
      </dgm:t>
    </dgm:pt>
    <dgm:pt modelId="{D42E2CF6-3C18-4D13-82A9-2D7FB86A320D}" type="sibTrans" cxnId="{BD9E2603-E59E-441A-82CF-D6E6749A1AEA}">
      <dgm:prSet/>
      <dgm:spPr/>
      <dgm:t>
        <a:bodyPr/>
        <a:lstStyle/>
        <a:p>
          <a:endParaRPr lang="en-US"/>
        </a:p>
      </dgm:t>
    </dgm:pt>
    <dgm:pt modelId="{0589CA4F-30CD-4065-894D-1E447AB46048}">
      <dgm:prSet custT="1"/>
      <dgm:spPr/>
      <dgm:t>
        <a:bodyPr/>
        <a:lstStyle/>
        <a:p>
          <a:r>
            <a:rPr lang="en-GB" sz="2400" dirty="0"/>
            <a:t>Accessibility 24</a:t>
          </a:r>
          <a:endParaRPr lang="en-US" sz="2400" dirty="0"/>
        </a:p>
      </dgm:t>
    </dgm:pt>
    <dgm:pt modelId="{D473139C-0428-4EEF-807D-B238E9316D88}" type="parTrans" cxnId="{DC2ED861-83D3-4169-8455-D28BC0ADD6A3}">
      <dgm:prSet/>
      <dgm:spPr/>
      <dgm:t>
        <a:bodyPr/>
        <a:lstStyle/>
        <a:p>
          <a:endParaRPr lang="en-US"/>
        </a:p>
      </dgm:t>
    </dgm:pt>
    <dgm:pt modelId="{6D829520-F855-4832-9A07-D98819A5477E}" type="sibTrans" cxnId="{DC2ED861-83D3-4169-8455-D28BC0ADD6A3}">
      <dgm:prSet/>
      <dgm:spPr/>
      <dgm:t>
        <a:bodyPr/>
        <a:lstStyle/>
        <a:p>
          <a:endParaRPr lang="en-US"/>
        </a:p>
      </dgm:t>
    </dgm:pt>
    <dgm:pt modelId="{EF8CEC7A-DB8C-4A47-A50D-45E15A4831AE}">
      <dgm:prSet/>
      <dgm:spPr/>
      <dgm:t>
        <a:bodyPr/>
        <a:lstStyle/>
        <a:p>
          <a:r>
            <a:rPr lang="en-GB" dirty="0"/>
            <a:t>Accessibility 36</a:t>
          </a:r>
          <a:endParaRPr lang="en-US" dirty="0"/>
        </a:p>
      </dgm:t>
      <dgm:extLst>
        <a:ext uri="{E40237B7-FDA0-4F09-8148-C483321AD2D9}">
          <dgm14:cNvPr xmlns:dgm14="http://schemas.microsoft.com/office/drawing/2010/diagram" id="0" name="" descr="Easy of reading of different  sizes of fonts on screen"/>
        </a:ext>
      </dgm:extLst>
    </dgm:pt>
    <dgm:pt modelId="{867D25D3-DABD-4043-AEFA-6D87461BCA83}" type="parTrans" cxnId="{7B9B3B0C-E771-4AC9-979C-13BBFC1CA568}">
      <dgm:prSet/>
      <dgm:spPr/>
      <dgm:t>
        <a:bodyPr/>
        <a:lstStyle/>
        <a:p>
          <a:endParaRPr lang="en-US"/>
        </a:p>
      </dgm:t>
    </dgm:pt>
    <dgm:pt modelId="{1E97E7F1-0535-4DC2-87EB-A18FB4BE2137}" type="sibTrans" cxnId="{7B9B3B0C-E771-4AC9-979C-13BBFC1CA568}">
      <dgm:prSet/>
      <dgm:spPr/>
      <dgm:t>
        <a:bodyPr/>
        <a:lstStyle/>
        <a:p>
          <a:endParaRPr lang="en-US"/>
        </a:p>
      </dgm:t>
    </dgm:pt>
    <dgm:pt modelId="{B36437FB-649C-4045-89BE-101DE7CE6C1C}">
      <dgm:prSet custT="1"/>
      <dgm:spPr/>
      <dgm:t>
        <a:bodyPr/>
        <a:lstStyle/>
        <a:p>
          <a:r>
            <a:rPr lang="en-GB" sz="4800" dirty="0"/>
            <a:t>Accessibility 48</a:t>
          </a:r>
          <a:endParaRPr lang="en-US" sz="4800" dirty="0"/>
        </a:p>
      </dgm:t>
    </dgm:pt>
    <dgm:pt modelId="{BD8059DD-8CEC-47F3-9A2B-A73870D677E9}" type="parTrans" cxnId="{FBED7AC8-9A35-492F-9135-9C137E5F5C44}">
      <dgm:prSet/>
      <dgm:spPr/>
      <dgm:t>
        <a:bodyPr/>
        <a:lstStyle/>
        <a:p>
          <a:endParaRPr lang="en-US"/>
        </a:p>
      </dgm:t>
    </dgm:pt>
    <dgm:pt modelId="{0FC9D742-396A-4938-AE85-236A4AC7A65D}" type="sibTrans" cxnId="{FBED7AC8-9A35-492F-9135-9C137E5F5C44}">
      <dgm:prSet/>
      <dgm:spPr/>
      <dgm:t>
        <a:bodyPr/>
        <a:lstStyle/>
        <a:p>
          <a:endParaRPr lang="en-US"/>
        </a:p>
      </dgm:t>
    </dgm:pt>
    <dgm:pt modelId="{25C6C4A5-2A90-40C7-ADA0-EEF246C4B89A}" type="pres">
      <dgm:prSet presAssocID="{4BCD3173-A781-4598-ACF4-F50B32660815}" presName="vert0" presStyleCnt="0">
        <dgm:presLayoutVars>
          <dgm:dir/>
          <dgm:animOne val="branch"/>
          <dgm:animLvl val="lvl"/>
        </dgm:presLayoutVars>
      </dgm:prSet>
      <dgm:spPr/>
    </dgm:pt>
    <dgm:pt modelId="{2D6061AC-DFA3-480C-BB59-86688176247D}" type="pres">
      <dgm:prSet presAssocID="{F0721E21-B9D6-4810-A624-BF4769D88BD2}" presName="thickLine" presStyleLbl="alignNode1" presStyleIdx="0" presStyleCnt="7"/>
      <dgm:spPr/>
    </dgm:pt>
    <dgm:pt modelId="{B464163A-E521-4BE2-820F-449863FDF802}" type="pres">
      <dgm:prSet presAssocID="{F0721E21-B9D6-4810-A624-BF4769D88BD2}" presName="horz1" presStyleCnt="0"/>
      <dgm:spPr/>
    </dgm:pt>
    <dgm:pt modelId="{F204A93F-A009-427F-9166-074BD405DE79}" type="pres">
      <dgm:prSet presAssocID="{F0721E21-B9D6-4810-A624-BF4769D88BD2}" presName="tx1" presStyleLbl="revTx" presStyleIdx="0" presStyleCnt="7"/>
      <dgm:spPr/>
    </dgm:pt>
    <dgm:pt modelId="{2CDB6EBC-62D5-4483-B01B-AB6ECF05828B}" type="pres">
      <dgm:prSet presAssocID="{F0721E21-B9D6-4810-A624-BF4769D88BD2}" presName="vert1" presStyleCnt="0"/>
      <dgm:spPr/>
    </dgm:pt>
    <dgm:pt modelId="{E2221A52-FB44-4227-AFB4-28ED162D8AB6}" type="pres">
      <dgm:prSet presAssocID="{CBBF0C6E-AC02-4BDF-AB2B-19C43C5C9467}" presName="thickLine" presStyleLbl="alignNode1" presStyleIdx="1" presStyleCnt="7"/>
      <dgm:spPr/>
    </dgm:pt>
    <dgm:pt modelId="{86F64B30-742D-4DE8-9B5B-B3D81C5267AC}" type="pres">
      <dgm:prSet presAssocID="{CBBF0C6E-AC02-4BDF-AB2B-19C43C5C9467}" presName="horz1" presStyleCnt="0"/>
      <dgm:spPr/>
    </dgm:pt>
    <dgm:pt modelId="{E1E39604-A114-4451-A1B5-E3A06310A748}" type="pres">
      <dgm:prSet presAssocID="{CBBF0C6E-AC02-4BDF-AB2B-19C43C5C9467}" presName="tx1" presStyleLbl="revTx" presStyleIdx="1" presStyleCnt="7"/>
      <dgm:spPr/>
    </dgm:pt>
    <dgm:pt modelId="{4BA611F9-AC5B-40BA-805E-3ACC1C0C81DC}" type="pres">
      <dgm:prSet presAssocID="{CBBF0C6E-AC02-4BDF-AB2B-19C43C5C9467}" presName="vert1" presStyleCnt="0"/>
      <dgm:spPr/>
    </dgm:pt>
    <dgm:pt modelId="{E9B5522B-F188-4D13-82BD-DAC32093EFEB}" type="pres">
      <dgm:prSet presAssocID="{F6A0657C-BAB1-4C0B-9E91-07F9CF82FD9B}" presName="thickLine" presStyleLbl="alignNode1" presStyleIdx="2" presStyleCnt="7"/>
      <dgm:spPr/>
    </dgm:pt>
    <dgm:pt modelId="{6A3A30E2-5FC5-47CC-9475-D7811DABD3C4}" type="pres">
      <dgm:prSet presAssocID="{F6A0657C-BAB1-4C0B-9E91-07F9CF82FD9B}" presName="horz1" presStyleCnt="0"/>
      <dgm:spPr/>
    </dgm:pt>
    <dgm:pt modelId="{7F23438A-B860-489A-B39C-5A08AB788FC7}" type="pres">
      <dgm:prSet presAssocID="{F6A0657C-BAB1-4C0B-9E91-07F9CF82FD9B}" presName="tx1" presStyleLbl="revTx" presStyleIdx="2" presStyleCnt="7"/>
      <dgm:spPr/>
    </dgm:pt>
    <dgm:pt modelId="{65CE3C21-263E-46BE-BB4D-6D070449053D}" type="pres">
      <dgm:prSet presAssocID="{F6A0657C-BAB1-4C0B-9E91-07F9CF82FD9B}" presName="vert1" presStyleCnt="0"/>
      <dgm:spPr/>
    </dgm:pt>
    <dgm:pt modelId="{8A63BB04-4B1F-4F6D-9528-CEDA49E7C7C9}" type="pres">
      <dgm:prSet presAssocID="{B573DBEE-3C06-4863-A883-DB4687A3D6F4}" presName="thickLine" presStyleLbl="alignNode1" presStyleIdx="3" presStyleCnt="7"/>
      <dgm:spPr/>
    </dgm:pt>
    <dgm:pt modelId="{3FDC0986-F784-4ECE-9BC9-36CCC6199FAE}" type="pres">
      <dgm:prSet presAssocID="{B573DBEE-3C06-4863-A883-DB4687A3D6F4}" presName="horz1" presStyleCnt="0"/>
      <dgm:spPr/>
    </dgm:pt>
    <dgm:pt modelId="{AEC9F3E4-2BA7-423C-BD70-7A898FB8007D}" type="pres">
      <dgm:prSet presAssocID="{B573DBEE-3C06-4863-A883-DB4687A3D6F4}" presName="tx1" presStyleLbl="revTx" presStyleIdx="3" presStyleCnt="7"/>
      <dgm:spPr/>
    </dgm:pt>
    <dgm:pt modelId="{3A0521DA-3C3E-4D34-9733-DDC3B54F7692}" type="pres">
      <dgm:prSet presAssocID="{B573DBEE-3C06-4863-A883-DB4687A3D6F4}" presName="vert1" presStyleCnt="0"/>
      <dgm:spPr/>
    </dgm:pt>
    <dgm:pt modelId="{98171A81-4DC9-4EEC-B1FF-327B58957B2D}" type="pres">
      <dgm:prSet presAssocID="{0589CA4F-30CD-4065-894D-1E447AB46048}" presName="thickLine" presStyleLbl="alignNode1" presStyleIdx="4" presStyleCnt="7"/>
      <dgm:spPr/>
    </dgm:pt>
    <dgm:pt modelId="{5578DBDD-2DF3-40DA-A5B5-F9CA2C6AA6BE}" type="pres">
      <dgm:prSet presAssocID="{0589CA4F-30CD-4065-894D-1E447AB46048}" presName="horz1" presStyleCnt="0"/>
      <dgm:spPr/>
    </dgm:pt>
    <dgm:pt modelId="{D32BD65A-675D-4E8D-A8BE-176EEADBFE49}" type="pres">
      <dgm:prSet presAssocID="{0589CA4F-30CD-4065-894D-1E447AB46048}" presName="tx1" presStyleLbl="revTx" presStyleIdx="4" presStyleCnt="7"/>
      <dgm:spPr/>
    </dgm:pt>
    <dgm:pt modelId="{8B0BE1D2-CCF5-4985-B3D4-49B40B8918DB}" type="pres">
      <dgm:prSet presAssocID="{0589CA4F-30CD-4065-894D-1E447AB46048}" presName="vert1" presStyleCnt="0"/>
      <dgm:spPr/>
    </dgm:pt>
    <dgm:pt modelId="{80CB1BCE-3E0B-4340-B907-758347727AF4}" type="pres">
      <dgm:prSet presAssocID="{EF8CEC7A-DB8C-4A47-A50D-45E15A4831AE}" presName="thickLine" presStyleLbl="alignNode1" presStyleIdx="5" presStyleCnt="7"/>
      <dgm:spPr/>
    </dgm:pt>
    <dgm:pt modelId="{B252D525-04EA-46A9-BBFA-9F0C4A85D33D}" type="pres">
      <dgm:prSet presAssocID="{EF8CEC7A-DB8C-4A47-A50D-45E15A4831AE}" presName="horz1" presStyleCnt="0"/>
      <dgm:spPr/>
    </dgm:pt>
    <dgm:pt modelId="{7026128A-FA0C-4563-8F19-7A393920BC35}" type="pres">
      <dgm:prSet presAssocID="{EF8CEC7A-DB8C-4A47-A50D-45E15A4831AE}" presName="tx1" presStyleLbl="revTx" presStyleIdx="5" presStyleCnt="7"/>
      <dgm:spPr/>
    </dgm:pt>
    <dgm:pt modelId="{B88F55C2-F456-42B6-AABF-59CEC4B777D1}" type="pres">
      <dgm:prSet presAssocID="{EF8CEC7A-DB8C-4A47-A50D-45E15A4831AE}" presName="vert1" presStyleCnt="0"/>
      <dgm:spPr/>
    </dgm:pt>
    <dgm:pt modelId="{FED05A9E-8D76-478E-9A49-352B97D5CA33}" type="pres">
      <dgm:prSet presAssocID="{B36437FB-649C-4045-89BE-101DE7CE6C1C}" presName="thickLine" presStyleLbl="alignNode1" presStyleIdx="6" presStyleCnt="7"/>
      <dgm:spPr/>
    </dgm:pt>
    <dgm:pt modelId="{05C2CA40-8B01-488F-9CDE-44A8944745D8}" type="pres">
      <dgm:prSet presAssocID="{B36437FB-649C-4045-89BE-101DE7CE6C1C}" presName="horz1" presStyleCnt="0"/>
      <dgm:spPr/>
    </dgm:pt>
    <dgm:pt modelId="{A0328F25-F9DE-4BF5-8386-8ED676561D44}" type="pres">
      <dgm:prSet presAssocID="{B36437FB-649C-4045-89BE-101DE7CE6C1C}" presName="tx1" presStyleLbl="revTx" presStyleIdx="6" presStyleCnt="7"/>
      <dgm:spPr/>
    </dgm:pt>
    <dgm:pt modelId="{914828EB-59C0-40D7-AA7D-B79CD7ACD52F}" type="pres">
      <dgm:prSet presAssocID="{B36437FB-649C-4045-89BE-101DE7CE6C1C}" presName="vert1" presStyleCnt="0"/>
      <dgm:spPr/>
    </dgm:pt>
  </dgm:ptLst>
  <dgm:cxnLst>
    <dgm:cxn modelId="{60B35400-6CA3-4EB3-B7C9-4A8509375A31}" type="presOf" srcId="{B36437FB-649C-4045-89BE-101DE7CE6C1C}" destId="{A0328F25-F9DE-4BF5-8386-8ED676561D44}" srcOrd="0" destOrd="0" presId="urn:microsoft.com/office/officeart/2008/layout/LinedList"/>
    <dgm:cxn modelId="{BD9E2603-E59E-441A-82CF-D6E6749A1AEA}" srcId="{4BCD3173-A781-4598-ACF4-F50B32660815}" destId="{B573DBEE-3C06-4863-A883-DB4687A3D6F4}" srcOrd="3" destOrd="0" parTransId="{3E905A5B-63DC-4FF0-91D4-875B5F312AAE}" sibTransId="{D42E2CF6-3C18-4D13-82A9-2D7FB86A320D}"/>
    <dgm:cxn modelId="{7B9B3B0C-E771-4AC9-979C-13BBFC1CA568}" srcId="{4BCD3173-A781-4598-ACF4-F50B32660815}" destId="{EF8CEC7A-DB8C-4A47-A50D-45E15A4831AE}" srcOrd="5" destOrd="0" parTransId="{867D25D3-DABD-4043-AEFA-6D87461BCA83}" sibTransId="{1E97E7F1-0535-4DC2-87EB-A18FB4BE2137}"/>
    <dgm:cxn modelId="{8C844C16-CB06-44BC-8F44-FE22BCD5A747}" type="presOf" srcId="{F6A0657C-BAB1-4C0B-9E91-07F9CF82FD9B}" destId="{7F23438A-B860-489A-B39C-5A08AB788FC7}" srcOrd="0" destOrd="0" presId="urn:microsoft.com/office/officeart/2008/layout/LinedList"/>
    <dgm:cxn modelId="{E188B61A-ECE0-41D6-B5CE-F34DC195C8B0}" type="presOf" srcId="{B573DBEE-3C06-4863-A883-DB4687A3D6F4}" destId="{AEC9F3E4-2BA7-423C-BD70-7A898FB8007D}" srcOrd="0" destOrd="0" presId="urn:microsoft.com/office/officeart/2008/layout/LinedList"/>
    <dgm:cxn modelId="{AFAFFE1D-9492-46BC-B05E-3183F4551E6B}" srcId="{4BCD3173-A781-4598-ACF4-F50B32660815}" destId="{F6A0657C-BAB1-4C0B-9E91-07F9CF82FD9B}" srcOrd="2" destOrd="0" parTransId="{E42CF7A7-00D9-4BAE-A58E-F7530E49588C}" sibTransId="{A90398F0-7DF0-4941-8DB8-828D8F6BC6B9}"/>
    <dgm:cxn modelId="{B8CBE131-CB20-4208-901D-E8AD3F0ADB86}" type="presOf" srcId="{CBBF0C6E-AC02-4BDF-AB2B-19C43C5C9467}" destId="{E1E39604-A114-4451-A1B5-E3A06310A748}" srcOrd="0" destOrd="0" presId="urn:microsoft.com/office/officeart/2008/layout/LinedList"/>
    <dgm:cxn modelId="{DC2ED861-83D3-4169-8455-D28BC0ADD6A3}" srcId="{4BCD3173-A781-4598-ACF4-F50B32660815}" destId="{0589CA4F-30CD-4065-894D-1E447AB46048}" srcOrd="4" destOrd="0" parTransId="{D473139C-0428-4EEF-807D-B238E9316D88}" sibTransId="{6D829520-F855-4832-9A07-D98819A5477E}"/>
    <dgm:cxn modelId="{CF745677-9BA3-40C6-AC8E-DAAB4D5B80A8}" srcId="{4BCD3173-A781-4598-ACF4-F50B32660815}" destId="{F0721E21-B9D6-4810-A624-BF4769D88BD2}" srcOrd="0" destOrd="0" parTransId="{643CF228-762C-44FC-842D-5FB11DE65198}" sibTransId="{03AC7B37-19A8-438C-9E9B-4984C5D1A58D}"/>
    <dgm:cxn modelId="{46DD5F97-BB54-4C8E-B017-D594A19D26C2}" type="presOf" srcId="{F0721E21-B9D6-4810-A624-BF4769D88BD2}" destId="{F204A93F-A009-427F-9166-074BD405DE79}" srcOrd="0" destOrd="0" presId="urn:microsoft.com/office/officeart/2008/layout/LinedList"/>
    <dgm:cxn modelId="{7D70DAA2-943B-4667-8071-C67DF88EA181}" srcId="{4BCD3173-A781-4598-ACF4-F50B32660815}" destId="{CBBF0C6E-AC02-4BDF-AB2B-19C43C5C9467}" srcOrd="1" destOrd="0" parTransId="{AF603A68-C4C3-46C8-80D7-B78E3924D2FC}" sibTransId="{2607FF13-86B5-409F-BE8D-D2DCFAC12A7D}"/>
    <dgm:cxn modelId="{F55A69B1-5991-4558-B94A-C8114DE1C245}" type="presOf" srcId="{EF8CEC7A-DB8C-4A47-A50D-45E15A4831AE}" destId="{7026128A-FA0C-4563-8F19-7A393920BC35}" srcOrd="0" destOrd="0" presId="urn:microsoft.com/office/officeart/2008/layout/LinedList"/>
    <dgm:cxn modelId="{A13A1BC7-0324-4EF6-8FA5-751904C8EE03}" type="presOf" srcId="{0589CA4F-30CD-4065-894D-1E447AB46048}" destId="{D32BD65A-675D-4E8D-A8BE-176EEADBFE49}" srcOrd="0" destOrd="0" presId="urn:microsoft.com/office/officeart/2008/layout/LinedList"/>
    <dgm:cxn modelId="{FBED7AC8-9A35-492F-9135-9C137E5F5C44}" srcId="{4BCD3173-A781-4598-ACF4-F50B32660815}" destId="{B36437FB-649C-4045-89BE-101DE7CE6C1C}" srcOrd="6" destOrd="0" parTransId="{BD8059DD-8CEC-47F3-9A2B-A73870D677E9}" sibTransId="{0FC9D742-396A-4938-AE85-236A4AC7A65D}"/>
    <dgm:cxn modelId="{6F35F1CD-BA4D-46F7-A043-6817D5501CBE}" type="presOf" srcId="{4BCD3173-A781-4598-ACF4-F50B32660815}" destId="{25C6C4A5-2A90-40C7-ADA0-EEF246C4B89A}" srcOrd="0" destOrd="0" presId="urn:microsoft.com/office/officeart/2008/layout/LinedList"/>
    <dgm:cxn modelId="{463527ED-CC24-4134-81AC-15817BB37CFC}" type="presParOf" srcId="{25C6C4A5-2A90-40C7-ADA0-EEF246C4B89A}" destId="{2D6061AC-DFA3-480C-BB59-86688176247D}" srcOrd="0" destOrd="0" presId="urn:microsoft.com/office/officeart/2008/layout/LinedList"/>
    <dgm:cxn modelId="{4E9F5AC5-60EF-4640-BC95-D0E9C3C192F3}" type="presParOf" srcId="{25C6C4A5-2A90-40C7-ADA0-EEF246C4B89A}" destId="{B464163A-E521-4BE2-820F-449863FDF802}" srcOrd="1" destOrd="0" presId="urn:microsoft.com/office/officeart/2008/layout/LinedList"/>
    <dgm:cxn modelId="{2D48BDB3-4CF9-4AE8-9FA2-562ECB90B5AE}" type="presParOf" srcId="{B464163A-E521-4BE2-820F-449863FDF802}" destId="{F204A93F-A009-427F-9166-074BD405DE79}" srcOrd="0" destOrd="0" presId="urn:microsoft.com/office/officeart/2008/layout/LinedList"/>
    <dgm:cxn modelId="{96618A62-C2CE-4E17-A78E-8C79A6259B0E}" type="presParOf" srcId="{B464163A-E521-4BE2-820F-449863FDF802}" destId="{2CDB6EBC-62D5-4483-B01B-AB6ECF05828B}" srcOrd="1" destOrd="0" presId="urn:microsoft.com/office/officeart/2008/layout/LinedList"/>
    <dgm:cxn modelId="{F31E1D6E-6645-4352-B49B-96F66D1CD973}" type="presParOf" srcId="{25C6C4A5-2A90-40C7-ADA0-EEF246C4B89A}" destId="{E2221A52-FB44-4227-AFB4-28ED162D8AB6}" srcOrd="2" destOrd="0" presId="urn:microsoft.com/office/officeart/2008/layout/LinedList"/>
    <dgm:cxn modelId="{C1E68BBB-3DD3-49D0-B605-2B37A2CD70B5}" type="presParOf" srcId="{25C6C4A5-2A90-40C7-ADA0-EEF246C4B89A}" destId="{86F64B30-742D-4DE8-9B5B-B3D81C5267AC}" srcOrd="3" destOrd="0" presId="urn:microsoft.com/office/officeart/2008/layout/LinedList"/>
    <dgm:cxn modelId="{86623488-BD74-4246-93DD-1D39D092FB28}" type="presParOf" srcId="{86F64B30-742D-4DE8-9B5B-B3D81C5267AC}" destId="{E1E39604-A114-4451-A1B5-E3A06310A748}" srcOrd="0" destOrd="0" presId="urn:microsoft.com/office/officeart/2008/layout/LinedList"/>
    <dgm:cxn modelId="{718B5BCE-AEE4-4233-860B-437A41920D32}" type="presParOf" srcId="{86F64B30-742D-4DE8-9B5B-B3D81C5267AC}" destId="{4BA611F9-AC5B-40BA-805E-3ACC1C0C81DC}" srcOrd="1" destOrd="0" presId="urn:microsoft.com/office/officeart/2008/layout/LinedList"/>
    <dgm:cxn modelId="{04F9399C-D4AE-45F4-832F-0CB987067662}" type="presParOf" srcId="{25C6C4A5-2A90-40C7-ADA0-EEF246C4B89A}" destId="{E9B5522B-F188-4D13-82BD-DAC32093EFEB}" srcOrd="4" destOrd="0" presId="urn:microsoft.com/office/officeart/2008/layout/LinedList"/>
    <dgm:cxn modelId="{50963053-9F79-4D69-A348-A00B6957076A}" type="presParOf" srcId="{25C6C4A5-2A90-40C7-ADA0-EEF246C4B89A}" destId="{6A3A30E2-5FC5-47CC-9475-D7811DABD3C4}" srcOrd="5" destOrd="0" presId="urn:microsoft.com/office/officeart/2008/layout/LinedList"/>
    <dgm:cxn modelId="{478A6A76-B947-4CA5-A922-3129BFA5C84F}" type="presParOf" srcId="{6A3A30E2-5FC5-47CC-9475-D7811DABD3C4}" destId="{7F23438A-B860-489A-B39C-5A08AB788FC7}" srcOrd="0" destOrd="0" presId="urn:microsoft.com/office/officeart/2008/layout/LinedList"/>
    <dgm:cxn modelId="{1F0C6740-AEE6-42C9-8EAA-F905E9FD9BF6}" type="presParOf" srcId="{6A3A30E2-5FC5-47CC-9475-D7811DABD3C4}" destId="{65CE3C21-263E-46BE-BB4D-6D070449053D}" srcOrd="1" destOrd="0" presId="urn:microsoft.com/office/officeart/2008/layout/LinedList"/>
    <dgm:cxn modelId="{E74E4ABB-5A44-44CD-8FF1-C3DFC4D814FD}" type="presParOf" srcId="{25C6C4A5-2A90-40C7-ADA0-EEF246C4B89A}" destId="{8A63BB04-4B1F-4F6D-9528-CEDA49E7C7C9}" srcOrd="6" destOrd="0" presId="urn:microsoft.com/office/officeart/2008/layout/LinedList"/>
    <dgm:cxn modelId="{74484EA4-B278-4B03-B619-94A4572ACC22}" type="presParOf" srcId="{25C6C4A5-2A90-40C7-ADA0-EEF246C4B89A}" destId="{3FDC0986-F784-4ECE-9BC9-36CCC6199FAE}" srcOrd="7" destOrd="0" presId="urn:microsoft.com/office/officeart/2008/layout/LinedList"/>
    <dgm:cxn modelId="{A21950B2-BA6F-48CD-B022-D7FA5E07DADE}" type="presParOf" srcId="{3FDC0986-F784-4ECE-9BC9-36CCC6199FAE}" destId="{AEC9F3E4-2BA7-423C-BD70-7A898FB8007D}" srcOrd="0" destOrd="0" presId="urn:microsoft.com/office/officeart/2008/layout/LinedList"/>
    <dgm:cxn modelId="{BDD3022B-69EC-483A-9290-33B1B5A66DE4}" type="presParOf" srcId="{3FDC0986-F784-4ECE-9BC9-36CCC6199FAE}" destId="{3A0521DA-3C3E-4D34-9733-DDC3B54F7692}" srcOrd="1" destOrd="0" presId="urn:microsoft.com/office/officeart/2008/layout/LinedList"/>
    <dgm:cxn modelId="{17546021-7497-44A0-A9BC-66C7F69AEDC1}" type="presParOf" srcId="{25C6C4A5-2A90-40C7-ADA0-EEF246C4B89A}" destId="{98171A81-4DC9-4EEC-B1FF-327B58957B2D}" srcOrd="8" destOrd="0" presId="urn:microsoft.com/office/officeart/2008/layout/LinedList"/>
    <dgm:cxn modelId="{B9946F99-2B5C-4DEC-AEC6-04F97BE17531}" type="presParOf" srcId="{25C6C4A5-2A90-40C7-ADA0-EEF246C4B89A}" destId="{5578DBDD-2DF3-40DA-A5B5-F9CA2C6AA6BE}" srcOrd="9" destOrd="0" presId="urn:microsoft.com/office/officeart/2008/layout/LinedList"/>
    <dgm:cxn modelId="{73602F86-1EAB-4EE1-B9F3-3C794FCD2379}" type="presParOf" srcId="{5578DBDD-2DF3-40DA-A5B5-F9CA2C6AA6BE}" destId="{D32BD65A-675D-4E8D-A8BE-176EEADBFE49}" srcOrd="0" destOrd="0" presId="urn:microsoft.com/office/officeart/2008/layout/LinedList"/>
    <dgm:cxn modelId="{74A421B1-87BE-4CCC-9598-F87988ED784B}" type="presParOf" srcId="{5578DBDD-2DF3-40DA-A5B5-F9CA2C6AA6BE}" destId="{8B0BE1D2-CCF5-4985-B3D4-49B40B8918DB}" srcOrd="1" destOrd="0" presId="urn:microsoft.com/office/officeart/2008/layout/LinedList"/>
    <dgm:cxn modelId="{C97DC208-3030-4319-8753-38E366763219}" type="presParOf" srcId="{25C6C4A5-2A90-40C7-ADA0-EEF246C4B89A}" destId="{80CB1BCE-3E0B-4340-B907-758347727AF4}" srcOrd="10" destOrd="0" presId="urn:microsoft.com/office/officeart/2008/layout/LinedList"/>
    <dgm:cxn modelId="{1F99482C-874A-4513-ADE3-CC72A600046E}" type="presParOf" srcId="{25C6C4A5-2A90-40C7-ADA0-EEF246C4B89A}" destId="{B252D525-04EA-46A9-BBFA-9F0C4A85D33D}" srcOrd="11" destOrd="0" presId="urn:microsoft.com/office/officeart/2008/layout/LinedList"/>
    <dgm:cxn modelId="{740477D7-5C02-488D-B4A3-426BE1F79AF2}" type="presParOf" srcId="{B252D525-04EA-46A9-BBFA-9F0C4A85D33D}" destId="{7026128A-FA0C-4563-8F19-7A393920BC35}" srcOrd="0" destOrd="0" presId="urn:microsoft.com/office/officeart/2008/layout/LinedList"/>
    <dgm:cxn modelId="{A3D86E96-0A7B-4A68-AECA-69C7588CA44C}" type="presParOf" srcId="{B252D525-04EA-46A9-BBFA-9F0C4A85D33D}" destId="{B88F55C2-F456-42B6-AABF-59CEC4B777D1}" srcOrd="1" destOrd="0" presId="urn:microsoft.com/office/officeart/2008/layout/LinedList"/>
    <dgm:cxn modelId="{7E6BACF2-45A1-4030-9B21-F1A4220E2766}" type="presParOf" srcId="{25C6C4A5-2A90-40C7-ADA0-EEF246C4B89A}" destId="{FED05A9E-8D76-478E-9A49-352B97D5CA33}" srcOrd="12" destOrd="0" presId="urn:microsoft.com/office/officeart/2008/layout/LinedList"/>
    <dgm:cxn modelId="{83C9E67A-C9A1-40D1-97E7-73F8DCB45A73}" type="presParOf" srcId="{25C6C4A5-2A90-40C7-ADA0-EEF246C4B89A}" destId="{05C2CA40-8B01-488F-9CDE-44A8944745D8}" srcOrd="13" destOrd="0" presId="urn:microsoft.com/office/officeart/2008/layout/LinedList"/>
    <dgm:cxn modelId="{67F793CD-A4FD-463E-9A94-967A2C22FF3E}" type="presParOf" srcId="{05C2CA40-8B01-488F-9CDE-44A8944745D8}" destId="{A0328F25-F9DE-4BF5-8386-8ED676561D44}" srcOrd="0" destOrd="0" presId="urn:microsoft.com/office/officeart/2008/layout/LinedList"/>
    <dgm:cxn modelId="{E7052F03-80EB-4D91-9ED1-2C841DB4F416}" type="presParOf" srcId="{05C2CA40-8B01-488F-9CDE-44A8944745D8}" destId="{914828EB-59C0-40D7-AA7D-B79CD7ACD52F}" srcOrd="1" destOrd="0" presId="urn:microsoft.com/office/officeart/2008/layout/Lin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D6061AC-DFA3-480C-BB59-86688176247D}">
      <dsp:nvSpPr>
        <dsp:cNvPr id="0" name=""/>
        <dsp:cNvSpPr/>
      </dsp:nvSpPr>
      <dsp:spPr>
        <a:xfrm>
          <a:off x="0" y="665"/>
          <a:ext cx="4907957" cy="0"/>
        </a:xfrm>
        <a:prstGeom prst="line">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w="6350" cap="flat" cmpd="sng" algn="ctr">
          <a:solidFill>
            <a:schemeClr val="accent2">
              <a:hueOff val="0"/>
              <a:satOff val="0"/>
              <a:lumOff val="0"/>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sp>
    <dsp:sp modelId="{F204A93F-A009-427F-9166-074BD405DE79}">
      <dsp:nvSpPr>
        <dsp:cNvPr id="0" name=""/>
        <dsp:cNvSpPr/>
      </dsp:nvSpPr>
      <dsp:spPr>
        <a:xfrm>
          <a:off x="0" y="665"/>
          <a:ext cx="4907957" cy="77894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0480" tIns="30480" rIns="30480" bIns="30480" numCol="1" spcCol="1270" anchor="t" anchorCtr="0">
          <a:noAutofit/>
        </a:bodyPr>
        <a:lstStyle/>
        <a:p>
          <a:pPr marL="0" lvl="0" indent="0" algn="l" defTabSz="355600">
            <a:lnSpc>
              <a:spcPct val="90000"/>
            </a:lnSpc>
            <a:spcBef>
              <a:spcPct val="0"/>
            </a:spcBef>
            <a:spcAft>
              <a:spcPct val="35000"/>
            </a:spcAft>
            <a:buNone/>
          </a:pPr>
          <a:r>
            <a:rPr lang="en-GB" sz="800" kern="1200" dirty="0"/>
            <a:t>Accessibility 8</a:t>
          </a:r>
          <a:endParaRPr lang="en-US" sz="800" kern="1200" dirty="0"/>
        </a:p>
      </dsp:txBody>
      <dsp:txXfrm>
        <a:off x="0" y="665"/>
        <a:ext cx="4907957" cy="778941"/>
      </dsp:txXfrm>
    </dsp:sp>
    <dsp:sp modelId="{E2221A52-FB44-4227-AFB4-28ED162D8AB6}">
      <dsp:nvSpPr>
        <dsp:cNvPr id="0" name=""/>
        <dsp:cNvSpPr/>
      </dsp:nvSpPr>
      <dsp:spPr>
        <a:xfrm>
          <a:off x="0" y="779606"/>
          <a:ext cx="4907957" cy="0"/>
        </a:xfrm>
        <a:prstGeom prst="line">
          <a:avLst/>
        </a:prstGeom>
        <a:gradFill rotWithShape="0">
          <a:gsLst>
            <a:gs pos="0">
              <a:schemeClr val="accent2">
                <a:hueOff val="276359"/>
                <a:satOff val="0"/>
                <a:lumOff val="2941"/>
                <a:alphaOff val="0"/>
                <a:satMod val="103000"/>
                <a:lumMod val="102000"/>
                <a:tint val="94000"/>
              </a:schemeClr>
            </a:gs>
            <a:gs pos="50000">
              <a:schemeClr val="accent2">
                <a:hueOff val="276359"/>
                <a:satOff val="0"/>
                <a:lumOff val="2941"/>
                <a:alphaOff val="0"/>
                <a:satMod val="110000"/>
                <a:lumMod val="100000"/>
                <a:shade val="100000"/>
              </a:schemeClr>
            </a:gs>
            <a:gs pos="100000">
              <a:schemeClr val="accent2">
                <a:hueOff val="276359"/>
                <a:satOff val="0"/>
                <a:lumOff val="2941"/>
                <a:alphaOff val="0"/>
                <a:lumMod val="99000"/>
                <a:satMod val="120000"/>
                <a:shade val="78000"/>
              </a:schemeClr>
            </a:gs>
          </a:gsLst>
          <a:lin ang="5400000" scaled="0"/>
        </a:gradFill>
        <a:ln w="6350" cap="flat" cmpd="sng" algn="ctr">
          <a:solidFill>
            <a:schemeClr val="accent2">
              <a:hueOff val="276359"/>
              <a:satOff val="0"/>
              <a:lumOff val="2941"/>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sp>
    <dsp:sp modelId="{E1E39604-A114-4451-A1B5-E3A06310A748}">
      <dsp:nvSpPr>
        <dsp:cNvPr id="0" name=""/>
        <dsp:cNvSpPr/>
      </dsp:nvSpPr>
      <dsp:spPr>
        <a:xfrm>
          <a:off x="0" y="779606"/>
          <a:ext cx="4907957" cy="77894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t" anchorCtr="0">
          <a:noAutofit/>
        </a:bodyPr>
        <a:lstStyle/>
        <a:p>
          <a:pPr marL="0" lvl="0" indent="0" algn="l" defTabSz="533400">
            <a:lnSpc>
              <a:spcPct val="90000"/>
            </a:lnSpc>
            <a:spcBef>
              <a:spcPct val="0"/>
            </a:spcBef>
            <a:spcAft>
              <a:spcPct val="35000"/>
            </a:spcAft>
            <a:buNone/>
          </a:pPr>
          <a:r>
            <a:rPr lang="en-GB" sz="1200" kern="1200" dirty="0"/>
            <a:t>Accessibility 12</a:t>
          </a:r>
          <a:endParaRPr lang="en-US" sz="1200" kern="1200" dirty="0"/>
        </a:p>
      </dsp:txBody>
      <dsp:txXfrm>
        <a:off x="0" y="779606"/>
        <a:ext cx="4907957" cy="778941"/>
      </dsp:txXfrm>
    </dsp:sp>
    <dsp:sp modelId="{E9B5522B-F188-4D13-82BD-DAC32093EFEB}">
      <dsp:nvSpPr>
        <dsp:cNvPr id="0" name=""/>
        <dsp:cNvSpPr/>
      </dsp:nvSpPr>
      <dsp:spPr>
        <a:xfrm>
          <a:off x="0" y="1558548"/>
          <a:ext cx="4907957" cy="0"/>
        </a:xfrm>
        <a:prstGeom prst="line">
          <a:avLst/>
        </a:prstGeom>
        <a:gradFill rotWithShape="0">
          <a:gsLst>
            <a:gs pos="0">
              <a:schemeClr val="accent2">
                <a:hueOff val="552718"/>
                <a:satOff val="0"/>
                <a:lumOff val="5882"/>
                <a:alphaOff val="0"/>
                <a:satMod val="103000"/>
                <a:lumMod val="102000"/>
                <a:tint val="94000"/>
              </a:schemeClr>
            </a:gs>
            <a:gs pos="50000">
              <a:schemeClr val="accent2">
                <a:hueOff val="552718"/>
                <a:satOff val="0"/>
                <a:lumOff val="5882"/>
                <a:alphaOff val="0"/>
                <a:satMod val="110000"/>
                <a:lumMod val="100000"/>
                <a:shade val="100000"/>
              </a:schemeClr>
            </a:gs>
            <a:gs pos="100000">
              <a:schemeClr val="accent2">
                <a:hueOff val="552718"/>
                <a:satOff val="0"/>
                <a:lumOff val="5882"/>
                <a:alphaOff val="0"/>
                <a:lumMod val="99000"/>
                <a:satMod val="120000"/>
                <a:shade val="78000"/>
              </a:schemeClr>
            </a:gs>
          </a:gsLst>
          <a:lin ang="5400000" scaled="0"/>
        </a:gradFill>
        <a:ln w="6350" cap="flat" cmpd="sng" algn="ctr">
          <a:solidFill>
            <a:schemeClr val="accent2">
              <a:hueOff val="552718"/>
              <a:satOff val="0"/>
              <a:lumOff val="5882"/>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sp>
    <dsp:sp modelId="{7F23438A-B860-489A-B39C-5A08AB788FC7}">
      <dsp:nvSpPr>
        <dsp:cNvPr id="0" name=""/>
        <dsp:cNvSpPr/>
      </dsp:nvSpPr>
      <dsp:spPr>
        <a:xfrm>
          <a:off x="0" y="1558548"/>
          <a:ext cx="4907957" cy="77894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marL="0" lvl="0" indent="0" algn="l" defTabSz="622300">
            <a:lnSpc>
              <a:spcPct val="90000"/>
            </a:lnSpc>
            <a:spcBef>
              <a:spcPct val="0"/>
            </a:spcBef>
            <a:spcAft>
              <a:spcPct val="35000"/>
            </a:spcAft>
            <a:buNone/>
          </a:pPr>
          <a:r>
            <a:rPr lang="en-GB" sz="1400" kern="1200" dirty="0"/>
            <a:t>Accessibility 14</a:t>
          </a:r>
          <a:endParaRPr lang="en-US" sz="1400" kern="1200" dirty="0"/>
        </a:p>
      </dsp:txBody>
      <dsp:txXfrm>
        <a:off x="0" y="1558548"/>
        <a:ext cx="4907957" cy="778941"/>
      </dsp:txXfrm>
    </dsp:sp>
    <dsp:sp modelId="{8A63BB04-4B1F-4F6D-9528-CEDA49E7C7C9}">
      <dsp:nvSpPr>
        <dsp:cNvPr id="0" name=""/>
        <dsp:cNvSpPr/>
      </dsp:nvSpPr>
      <dsp:spPr>
        <a:xfrm>
          <a:off x="0" y="2337489"/>
          <a:ext cx="4907957" cy="0"/>
        </a:xfrm>
        <a:prstGeom prst="line">
          <a:avLst/>
        </a:prstGeom>
        <a:gradFill rotWithShape="0">
          <a:gsLst>
            <a:gs pos="0">
              <a:schemeClr val="accent2">
                <a:hueOff val="829077"/>
                <a:satOff val="0"/>
                <a:lumOff val="8824"/>
                <a:alphaOff val="0"/>
                <a:satMod val="103000"/>
                <a:lumMod val="102000"/>
                <a:tint val="94000"/>
              </a:schemeClr>
            </a:gs>
            <a:gs pos="50000">
              <a:schemeClr val="accent2">
                <a:hueOff val="829077"/>
                <a:satOff val="0"/>
                <a:lumOff val="8824"/>
                <a:alphaOff val="0"/>
                <a:satMod val="110000"/>
                <a:lumMod val="100000"/>
                <a:shade val="100000"/>
              </a:schemeClr>
            </a:gs>
            <a:gs pos="100000">
              <a:schemeClr val="accent2">
                <a:hueOff val="829077"/>
                <a:satOff val="0"/>
                <a:lumOff val="8824"/>
                <a:alphaOff val="0"/>
                <a:lumMod val="99000"/>
                <a:satMod val="120000"/>
                <a:shade val="78000"/>
              </a:schemeClr>
            </a:gs>
          </a:gsLst>
          <a:lin ang="5400000" scaled="0"/>
        </a:gradFill>
        <a:ln w="6350" cap="flat" cmpd="sng" algn="ctr">
          <a:solidFill>
            <a:schemeClr val="accent2">
              <a:hueOff val="829077"/>
              <a:satOff val="0"/>
              <a:lumOff val="8824"/>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sp>
    <dsp:sp modelId="{AEC9F3E4-2BA7-423C-BD70-7A898FB8007D}">
      <dsp:nvSpPr>
        <dsp:cNvPr id="0" name=""/>
        <dsp:cNvSpPr/>
      </dsp:nvSpPr>
      <dsp:spPr>
        <a:xfrm>
          <a:off x="0" y="2337489"/>
          <a:ext cx="4907957" cy="77894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GB" sz="1800" kern="1200" dirty="0"/>
            <a:t>Accessibility 18</a:t>
          </a:r>
          <a:endParaRPr lang="en-US" sz="1800" kern="1200" dirty="0"/>
        </a:p>
      </dsp:txBody>
      <dsp:txXfrm>
        <a:off x="0" y="2337489"/>
        <a:ext cx="4907957" cy="778941"/>
      </dsp:txXfrm>
    </dsp:sp>
    <dsp:sp modelId="{98171A81-4DC9-4EEC-B1FF-327B58957B2D}">
      <dsp:nvSpPr>
        <dsp:cNvPr id="0" name=""/>
        <dsp:cNvSpPr/>
      </dsp:nvSpPr>
      <dsp:spPr>
        <a:xfrm>
          <a:off x="0" y="3116430"/>
          <a:ext cx="4907957" cy="0"/>
        </a:xfrm>
        <a:prstGeom prst="line">
          <a:avLst/>
        </a:prstGeom>
        <a:gradFill rotWithShape="0">
          <a:gsLst>
            <a:gs pos="0">
              <a:schemeClr val="accent2">
                <a:hueOff val="1105436"/>
                <a:satOff val="0"/>
                <a:lumOff val="11765"/>
                <a:alphaOff val="0"/>
                <a:satMod val="103000"/>
                <a:lumMod val="102000"/>
                <a:tint val="94000"/>
              </a:schemeClr>
            </a:gs>
            <a:gs pos="50000">
              <a:schemeClr val="accent2">
                <a:hueOff val="1105436"/>
                <a:satOff val="0"/>
                <a:lumOff val="11765"/>
                <a:alphaOff val="0"/>
                <a:satMod val="110000"/>
                <a:lumMod val="100000"/>
                <a:shade val="100000"/>
              </a:schemeClr>
            </a:gs>
            <a:gs pos="100000">
              <a:schemeClr val="accent2">
                <a:hueOff val="1105436"/>
                <a:satOff val="0"/>
                <a:lumOff val="11765"/>
                <a:alphaOff val="0"/>
                <a:lumMod val="99000"/>
                <a:satMod val="120000"/>
                <a:shade val="78000"/>
              </a:schemeClr>
            </a:gs>
          </a:gsLst>
          <a:lin ang="5400000" scaled="0"/>
        </a:gradFill>
        <a:ln w="6350" cap="flat" cmpd="sng" algn="ctr">
          <a:solidFill>
            <a:schemeClr val="accent2">
              <a:hueOff val="1105436"/>
              <a:satOff val="0"/>
              <a:lumOff val="11765"/>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sp>
    <dsp:sp modelId="{D32BD65A-675D-4E8D-A8BE-176EEADBFE49}">
      <dsp:nvSpPr>
        <dsp:cNvPr id="0" name=""/>
        <dsp:cNvSpPr/>
      </dsp:nvSpPr>
      <dsp:spPr>
        <a:xfrm>
          <a:off x="0" y="3116430"/>
          <a:ext cx="4907957" cy="77894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GB" sz="2400" kern="1200" dirty="0"/>
            <a:t>Accessibility 24</a:t>
          </a:r>
          <a:endParaRPr lang="en-US" sz="2400" kern="1200" dirty="0"/>
        </a:p>
      </dsp:txBody>
      <dsp:txXfrm>
        <a:off x="0" y="3116430"/>
        <a:ext cx="4907957" cy="778941"/>
      </dsp:txXfrm>
    </dsp:sp>
    <dsp:sp modelId="{80CB1BCE-3E0B-4340-B907-758347727AF4}">
      <dsp:nvSpPr>
        <dsp:cNvPr id="0" name=""/>
        <dsp:cNvSpPr/>
      </dsp:nvSpPr>
      <dsp:spPr>
        <a:xfrm>
          <a:off x="0" y="3895371"/>
          <a:ext cx="4907957" cy="0"/>
        </a:xfrm>
        <a:prstGeom prst="line">
          <a:avLst/>
        </a:prstGeom>
        <a:gradFill rotWithShape="0">
          <a:gsLst>
            <a:gs pos="0">
              <a:schemeClr val="accent2">
                <a:hueOff val="1381795"/>
                <a:satOff val="0"/>
                <a:lumOff val="14706"/>
                <a:alphaOff val="0"/>
                <a:satMod val="103000"/>
                <a:lumMod val="102000"/>
                <a:tint val="94000"/>
              </a:schemeClr>
            </a:gs>
            <a:gs pos="50000">
              <a:schemeClr val="accent2">
                <a:hueOff val="1381795"/>
                <a:satOff val="0"/>
                <a:lumOff val="14706"/>
                <a:alphaOff val="0"/>
                <a:satMod val="110000"/>
                <a:lumMod val="100000"/>
                <a:shade val="100000"/>
              </a:schemeClr>
            </a:gs>
            <a:gs pos="100000">
              <a:schemeClr val="accent2">
                <a:hueOff val="1381795"/>
                <a:satOff val="0"/>
                <a:lumOff val="14706"/>
                <a:alphaOff val="0"/>
                <a:lumMod val="99000"/>
                <a:satMod val="120000"/>
                <a:shade val="78000"/>
              </a:schemeClr>
            </a:gs>
          </a:gsLst>
          <a:lin ang="5400000" scaled="0"/>
        </a:gradFill>
        <a:ln w="6350" cap="flat" cmpd="sng" algn="ctr">
          <a:solidFill>
            <a:schemeClr val="accent2">
              <a:hueOff val="1381795"/>
              <a:satOff val="0"/>
              <a:lumOff val="14706"/>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sp>
    <dsp:sp modelId="{7026128A-FA0C-4563-8F19-7A393920BC35}">
      <dsp:nvSpPr>
        <dsp:cNvPr id="0" name=""/>
        <dsp:cNvSpPr/>
      </dsp:nvSpPr>
      <dsp:spPr>
        <a:xfrm>
          <a:off x="0" y="3895371"/>
          <a:ext cx="4907957" cy="77894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0970" tIns="140970" rIns="140970" bIns="140970" numCol="1" spcCol="1270" anchor="t" anchorCtr="0">
          <a:noAutofit/>
        </a:bodyPr>
        <a:lstStyle/>
        <a:p>
          <a:pPr marL="0" lvl="0" indent="0" algn="l" defTabSz="1644650">
            <a:lnSpc>
              <a:spcPct val="90000"/>
            </a:lnSpc>
            <a:spcBef>
              <a:spcPct val="0"/>
            </a:spcBef>
            <a:spcAft>
              <a:spcPct val="35000"/>
            </a:spcAft>
            <a:buNone/>
          </a:pPr>
          <a:r>
            <a:rPr lang="en-GB" sz="3700" kern="1200" dirty="0"/>
            <a:t>Accessibility 36</a:t>
          </a:r>
          <a:endParaRPr lang="en-US" sz="3700" kern="1200" dirty="0"/>
        </a:p>
      </dsp:txBody>
      <dsp:txXfrm>
        <a:off x="0" y="3895371"/>
        <a:ext cx="4907957" cy="778941"/>
      </dsp:txXfrm>
    </dsp:sp>
    <dsp:sp modelId="{FED05A9E-8D76-478E-9A49-352B97D5CA33}">
      <dsp:nvSpPr>
        <dsp:cNvPr id="0" name=""/>
        <dsp:cNvSpPr/>
      </dsp:nvSpPr>
      <dsp:spPr>
        <a:xfrm>
          <a:off x="0" y="4674313"/>
          <a:ext cx="4907957" cy="0"/>
        </a:xfrm>
        <a:prstGeom prst="line">
          <a:avLst/>
        </a:prstGeom>
        <a:gradFill rotWithShape="0">
          <a:gsLst>
            <a:gs pos="0">
              <a:schemeClr val="accent2">
                <a:hueOff val="1658155"/>
                <a:satOff val="0"/>
                <a:lumOff val="17647"/>
                <a:alphaOff val="0"/>
                <a:satMod val="103000"/>
                <a:lumMod val="102000"/>
                <a:tint val="94000"/>
              </a:schemeClr>
            </a:gs>
            <a:gs pos="50000">
              <a:schemeClr val="accent2">
                <a:hueOff val="1658155"/>
                <a:satOff val="0"/>
                <a:lumOff val="17647"/>
                <a:alphaOff val="0"/>
                <a:satMod val="110000"/>
                <a:lumMod val="100000"/>
                <a:shade val="100000"/>
              </a:schemeClr>
            </a:gs>
            <a:gs pos="100000">
              <a:schemeClr val="accent2">
                <a:hueOff val="1658155"/>
                <a:satOff val="0"/>
                <a:lumOff val="17647"/>
                <a:alphaOff val="0"/>
                <a:lumMod val="99000"/>
                <a:satMod val="120000"/>
                <a:shade val="78000"/>
              </a:schemeClr>
            </a:gs>
          </a:gsLst>
          <a:lin ang="5400000" scaled="0"/>
        </a:gradFill>
        <a:ln w="6350" cap="flat" cmpd="sng" algn="ctr">
          <a:solidFill>
            <a:schemeClr val="accent2">
              <a:hueOff val="1658155"/>
              <a:satOff val="0"/>
              <a:lumOff val="17647"/>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sp>
    <dsp:sp modelId="{A0328F25-F9DE-4BF5-8386-8ED676561D44}">
      <dsp:nvSpPr>
        <dsp:cNvPr id="0" name=""/>
        <dsp:cNvSpPr/>
      </dsp:nvSpPr>
      <dsp:spPr>
        <a:xfrm>
          <a:off x="0" y="4674313"/>
          <a:ext cx="4907957" cy="77894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82880" tIns="182880" rIns="182880" bIns="182880" numCol="1" spcCol="1270" anchor="t" anchorCtr="0">
          <a:noAutofit/>
        </a:bodyPr>
        <a:lstStyle/>
        <a:p>
          <a:pPr marL="0" lvl="0" indent="0" algn="l" defTabSz="2133600">
            <a:lnSpc>
              <a:spcPct val="90000"/>
            </a:lnSpc>
            <a:spcBef>
              <a:spcPct val="0"/>
            </a:spcBef>
            <a:spcAft>
              <a:spcPct val="35000"/>
            </a:spcAft>
            <a:buNone/>
          </a:pPr>
          <a:r>
            <a:rPr lang="en-GB" sz="4800" kern="1200" dirty="0"/>
            <a:t>Accessibility 48</a:t>
          </a:r>
          <a:endParaRPr lang="en-US" sz="4800" kern="1200" dirty="0"/>
        </a:p>
      </dsp:txBody>
      <dsp:txXfrm>
        <a:off x="0" y="4674313"/>
        <a:ext cx="4907957" cy="778941"/>
      </dsp:txXfrm>
    </dsp:sp>
  </dsp:spTree>
</dsp:drawing>
</file>

<file path=ppt/diagrams/layout1.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D466817-4999-4ED2-9BF4-E284A60757D1}" type="datetimeFigureOut">
              <a:rPr lang="en-GB" smtClean="0"/>
              <a:t>01/07/2024</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424F420-6C54-445C-91D5-D3FD1A0F7212}" type="slidenum">
              <a:rPr lang="en-GB" smtClean="0"/>
              <a:t>‹#›</a:t>
            </a:fld>
            <a:endParaRPr lang="en-GB"/>
          </a:p>
        </p:txBody>
      </p:sp>
    </p:spTree>
    <p:extLst>
      <p:ext uri="{BB962C8B-B14F-4D97-AF65-F5344CB8AC3E}">
        <p14:creationId xmlns:p14="http://schemas.microsoft.com/office/powerpoint/2010/main" val="21973605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424F420-6C54-445C-91D5-D3FD1A0F721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807290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424F420-6C54-445C-91D5-D3FD1A0F7212}" type="slidenum">
              <a:rPr lang="en-GB" smtClean="0"/>
              <a:t>3</a:t>
            </a:fld>
            <a:endParaRPr lang="en-GB"/>
          </a:p>
        </p:txBody>
      </p:sp>
    </p:spTree>
    <p:extLst>
      <p:ext uri="{BB962C8B-B14F-4D97-AF65-F5344CB8AC3E}">
        <p14:creationId xmlns:p14="http://schemas.microsoft.com/office/powerpoint/2010/main" val="25059924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ings to sa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kern="100" dirty="0">
              <a:latin typeface="Calibri" panose="020F0502020204030204" pitchFamily="34" charset="0"/>
              <a:ea typeface="Yu Mincho" panose="02020400000000000000" pitchFamily="18"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kern="100" dirty="0">
                <a:latin typeface="Calibri" panose="020F0502020204030204" pitchFamily="34" charset="0"/>
                <a:ea typeface="Yu Mincho" panose="02020400000000000000" pitchFamily="18" charset="-128"/>
                <a:cs typeface="Arial" panose="020B0604020202020204" pitchFamily="34" charset="0"/>
              </a:rPr>
              <a:t>Using colour to convey information can exclude some people. Such as those a visual impairment or colour blindness </a:t>
            </a:r>
          </a:p>
          <a:p>
            <a:endParaRPr lang="en-GB" dirty="0"/>
          </a:p>
          <a:p>
            <a:endParaRPr lang="en-GB" dirty="0"/>
          </a:p>
          <a:p>
            <a:pPr marL="0" indent="0">
              <a:lnSpc>
                <a:spcPct val="107000"/>
              </a:lnSpc>
              <a:spcAft>
                <a:spcPts val="800"/>
              </a:spcAft>
              <a:buNone/>
            </a:pPr>
            <a:r>
              <a:rPr lang="en-GB" kern="100" dirty="0">
                <a:latin typeface="Calibri" panose="020F0502020204030204" pitchFamily="34" charset="0"/>
                <a:ea typeface="Yu Mincho" panose="02020400000000000000" pitchFamily="18" charset="-128"/>
                <a:cs typeface="Arial" panose="020B0604020202020204" pitchFamily="34" charset="0"/>
              </a:rPr>
              <a:t>Always ask yourself:</a:t>
            </a:r>
          </a:p>
          <a:p>
            <a:pPr>
              <a:lnSpc>
                <a:spcPct val="107000"/>
              </a:lnSpc>
              <a:spcAft>
                <a:spcPts val="800"/>
              </a:spcAft>
            </a:pPr>
            <a:r>
              <a:rPr lang="en-GB" kern="100" dirty="0">
                <a:latin typeface="Calibri" panose="020F0502020204030204" pitchFamily="34" charset="0"/>
                <a:ea typeface="Yu Mincho" panose="02020400000000000000" pitchFamily="18" charset="-128"/>
                <a:cs typeface="Arial" panose="020B0604020202020204" pitchFamily="34" charset="0"/>
              </a:rPr>
              <a:t>‘Do the colours I’m using have enough contrast?’</a:t>
            </a:r>
          </a:p>
          <a:p>
            <a:endParaRPr lang="en-US" dirty="0"/>
          </a:p>
        </p:txBody>
      </p:sp>
      <p:sp>
        <p:nvSpPr>
          <p:cNvPr id="4" name="Slide Number Placeholder 3"/>
          <p:cNvSpPr>
            <a:spLocks noGrp="1"/>
          </p:cNvSpPr>
          <p:nvPr>
            <p:ph type="sldNum" sz="quarter" idx="5"/>
          </p:nvPr>
        </p:nvSpPr>
        <p:spPr/>
        <p:txBody>
          <a:bodyPr/>
          <a:lstStyle/>
          <a:p>
            <a:fld id="{D424F420-6C54-445C-91D5-D3FD1A0F7212}" type="slidenum">
              <a:rPr lang="en-GB" smtClean="0"/>
              <a:t>5</a:t>
            </a:fld>
            <a:endParaRPr lang="en-GB"/>
          </a:p>
        </p:txBody>
      </p:sp>
    </p:spTree>
    <p:extLst>
      <p:ext uri="{BB962C8B-B14F-4D97-AF65-F5344CB8AC3E}">
        <p14:creationId xmlns:p14="http://schemas.microsoft.com/office/powerpoint/2010/main" val="10562513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ings to say:</a:t>
            </a:r>
          </a:p>
          <a:p>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kern="100" dirty="0">
                <a:latin typeface="Calibri" panose="020F0502020204030204" pitchFamily="34" charset="0"/>
                <a:ea typeface="Yu Mincho" panose="02020400000000000000" pitchFamily="18" charset="-128"/>
                <a:cs typeface="Arial" panose="020B0604020202020204" pitchFamily="34" charset="0"/>
              </a:rPr>
              <a:t>The easier a font is to read, the more accessible it is.</a:t>
            </a:r>
          </a:p>
          <a:p>
            <a:endParaRPr lang="en-US" dirty="0"/>
          </a:p>
        </p:txBody>
      </p:sp>
      <p:sp>
        <p:nvSpPr>
          <p:cNvPr id="4" name="Slide Number Placeholder 3"/>
          <p:cNvSpPr>
            <a:spLocks noGrp="1"/>
          </p:cNvSpPr>
          <p:nvPr>
            <p:ph type="sldNum" sz="quarter" idx="5"/>
          </p:nvPr>
        </p:nvSpPr>
        <p:spPr/>
        <p:txBody>
          <a:bodyPr/>
          <a:lstStyle/>
          <a:p>
            <a:fld id="{D424F420-6C54-445C-91D5-D3FD1A0F7212}" type="slidenum">
              <a:rPr lang="en-GB" smtClean="0"/>
              <a:t>7</a:t>
            </a:fld>
            <a:endParaRPr lang="en-GB"/>
          </a:p>
        </p:txBody>
      </p:sp>
    </p:spTree>
    <p:extLst>
      <p:ext uri="{BB962C8B-B14F-4D97-AF65-F5344CB8AC3E}">
        <p14:creationId xmlns:p14="http://schemas.microsoft.com/office/powerpoint/2010/main" val="10326098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PowerPoint has a checker to help you with this. It is a quick and simple way of making sure that there are no major accessibility challenges in your deck. Using it is simple and can be found on the review tab</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424F420-6C54-445C-91D5-D3FD1A0F721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0581473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14.emf"/></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2.xml"/><Relationship Id="rId4" Type="http://schemas.openxmlformats.org/officeDocument/2006/relationships/image" Target="../media/image14.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3.xml"/><Relationship Id="rId1" Type="http://schemas.openxmlformats.org/officeDocument/2006/relationships/tags" Target="../tags/tag3.xml"/><Relationship Id="rId4" Type="http://schemas.openxmlformats.org/officeDocument/2006/relationships/image" Target="../media/image14.emf"/></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8_Title Slide">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D4E046F-47A0-475E-B0B7-567610AD5256}"/>
              </a:ext>
            </a:extLst>
          </p:cNvPr>
          <p:cNvSpPr>
            <a:spLocks noGrp="1"/>
          </p:cNvSpPr>
          <p:nvPr>
            <p:ph type="sldNum" sz="quarter" idx="12"/>
          </p:nvPr>
        </p:nvSpPr>
        <p:spPr/>
        <p:txBody>
          <a:bodyPr/>
          <a:lstStyle/>
          <a:p>
            <a:fld id="{24A935F8-6F02-46CF-898B-F9D6B7DB9D8E}" type="slidenum">
              <a:rPr lang="en-GB" smtClean="0"/>
              <a:t>‹#›</a:t>
            </a:fld>
            <a:endParaRPr lang="en-GB"/>
          </a:p>
        </p:txBody>
      </p:sp>
      <p:sp>
        <p:nvSpPr>
          <p:cNvPr id="25" name="Oval 24">
            <a:extLst>
              <a:ext uri="{FF2B5EF4-FFF2-40B4-BE49-F238E27FC236}">
                <a16:creationId xmlns:a16="http://schemas.microsoft.com/office/drawing/2014/main" id="{98F04D76-F6B7-F043-9080-C64AD2C7E5E9}"/>
              </a:ext>
            </a:extLst>
          </p:cNvPr>
          <p:cNvSpPr/>
          <p:nvPr userDrawn="1"/>
        </p:nvSpPr>
        <p:spPr>
          <a:xfrm>
            <a:off x="8294298" y="3548885"/>
            <a:ext cx="931331" cy="931329"/>
          </a:xfrm>
          <a:prstGeom prst="ellipse">
            <a:avLst/>
          </a:prstGeom>
          <a:gradFill flip="none" rotWithShape="1">
            <a:gsLst>
              <a:gs pos="0">
                <a:schemeClr val="accent4">
                  <a:alpha val="8000"/>
                </a:schemeClr>
              </a:gs>
              <a:gs pos="54000">
                <a:schemeClr val="accent4">
                  <a:alpha val="85000"/>
                </a:schemeClr>
              </a:gs>
            </a:gsLst>
            <a:path path="circle">
              <a:fillToRect l="100000" b="100000"/>
            </a:path>
            <a:tileRect t="-100000" r="-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sp>
        <p:nvSpPr>
          <p:cNvPr id="26" name="Rectangle: Rounded Corners 27">
            <a:extLst>
              <a:ext uri="{FF2B5EF4-FFF2-40B4-BE49-F238E27FC236}">
                <a16:creationId xmlns:a16="http://schemas.microsoft.com/office/drawing/2014/main" id="{65C35479-8B55-904F-A2E6-D7C25A732B64}"/>
              </a:ext>
            </a:extLst>
          </p:cNvPr>
          <p:cNvSpPr/>
          <p:nvPr userDrawn="1"/>
        </p:nvSpPr>
        <p:spPr>
          <a:xfrm rot="3600000">
            <a:off x="12038485" y="1926196"/>
            <a:ext cx="340125" cy="1573824"/>
          </a:xfrm>
          <a:prstGeom prst="roundRect">
            <a:avLst>
              <a:gd name="adj" fmla="val 50000"/>
            </a:avLst>
          </a:prstGeom>
          <a:gradFill flip="none" rotWithShape="1">
            <a:gsLst>
              <a:gs pos="33000">
                <a:schemeClr val="accent3"/>
              </a:gs>
              <a:gs pos="76000">
                <a:schemeClr val="accent3">
                  <a:alpha val="0"/>
                </a:schemeClr>
              </a:gs>
            </a:gsLst>
            <a:lin ang="6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sp>
        <p:nvSpPr>
          <p:cNvPr id="27" name="Oval 26">
            <a:extLst>
              <a:ext uri="{FF2B5EF4-FFF2-40B4-BE49-F238E27FC236}">
                <a16:creationId xmlns:a16="http://schemas.microsoft.com/office/drawing/2014/main" id="{7B6B3AFC-8B58-8242-946B-B4BC023B01C7}"/>
              </a:ext>
            </a:extLst>
          </p:cNvPr>
          <p:cNvSpPr/>
          <p:nvPr userDrawn="1"/>
        </p:nvSpPr>
        <p:spPr>
          <a:xfrm>
            <a:off x="11805916" y="5227157"/>
            <a:ext cx="314405" cy="314405"/>
          </a:xfrm>
          <a:prstGeom prst="ellipse">
            <a:avLst/>
          </a:prstGeom>
          <a:gradFill>
            <a:gsLst>
              <a:gs pos="11000">
                <a:schemeClr val="bg1">
                  <a:alpha val="20000"/>
                </a:schemeClr>
              </a:gs>
              <a:gs pos="77000">
                <a:schemeClr val="bg1">
                  <a:alpha val="85000"/>
                </a:schemeClr>
              </a:gs>
            </a:gsLst>
            <a:lin ang="19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sp>
        <p:nvSpPr>
          <p:cNvPr id="28" name="Oval 27">
            <a:extLst>
              <a:ext uri="{FF2B5EF4-FFF2-40B4-BE49-F238E27FC236}">
                <a16:creationId xmlns:a16="http://schemas.microsoft.com/office/drawing/2014/main" id="{C22CEBEE-9834-1D4D-948D-E4044809E941}"/>
              </a:ext>
            </a:extLst>
          </p:cNvPr>
          <p:cNvSpPr/>
          <p:nvPr userDrawn="1"/>
        </p:nvSpPr>
        <p:spPr>
          <a:xfrm>
            <a:off x="8184232" y="476672"/>
            <a:ext cx="3764441" cy="3764441"/>
          </a:xfrm>
          <a:prstGeom prst="ellipse">
            <a:avLst/>
          </a:prstGeom>
          <a:gradFill>
            <a:gsLst>
              <a:gs pos="6000">
                <a:schemeClr val="accent1">
                  <a:alpha val="2000"/>
                </a:schemeClr>
              </a:gs>
              <a:gs pos="57000">
                <a:schemeClr val="accent1"/>
              </a:gs>
            </a:gsLst>
            <a:lin ang="2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sp>
        <p:nvSpPr>
          <p:cNvPr id="29" name="Circle: Hollow 30">
            <a:extLst>
              <a:ext uri="{FF2B5EF4-FFF2-40B4-BE49-F238E27FC236}">
                <a16:creationId xmlns:a16="http://schemas.microsoft.com/office/drawing/2014/main" id="{68A9A637-1D48-074F-BB33-B92DABF8BE16}"/>
              </a:ext>
            </a:extLst>
          </p:cNvPr>
          <p:cNvSpPr/>
          <p:nvPr userDrawn="1"/>
        </p:nvSpPr>
        <p:spPr>
          <a:xfrm>
            <a:off x="7966767" y="257514"/>
            <a:ext cx="1366032" cy="1366032"/>
          </a:xfrm>
          <a:prstGeom prst="donut">
            <a:avLst>
              <a:gd name="adj" fmla="val 1743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sp>
        <p:nvSpPr>
          <p:cNvPr id="30" name="Rectangle: Rounded Corners 31">
            <a:extLst>
              <a:ext uri="{FF2B5EF4-FFF2-40B4-BE49-F238E27FC236}">
                <a16:creationId xmlns:a16="http://schemas.microsoft.com/office/drawing/2014/main" id="{ADE80E68-7BC4-0B48-8F80-33F4488EBDA5}"/>
              </a:ext>
            </a:extLst>
          </p:cNvPr>
          <p:cNvSpPr/>
          <p:nvPr userDrawn="1"/>
        </p:nvSpPr>
        <p:spPr>
          <a:xfrm rot="3600000">
            <a:off x="9743900" y="4079217"/>
            <a:ext cx="796273" cy="3953430"/>
          </a:xfrm>
          <a:prstGeom prst="roundRect">
            <a:avLst>
              <a:gd name="adj" fmla="val 50000"/>
            </a:avLst>
          </a:prstGeom>
          <a:gradFill flip="none" rotWithShape="1">
            <a:gsLst>
              <a:gs pos="30000">
                <a:schemeClr val="accent4"/>
              </a:gs>
              <a:gs pos="100000">
                <a:schemeClr val="accent4">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sp>
        <p:nvSpPr>
          <p:cNvPr id="31" name="Rectangle: Rounded Corners 32">
            <a:extLst>
              <a:ext uri="{FF2B5EF4-FFF2-40B4-BE49-F238E27FC236}">
                <a16:creationId xmlns:a16="http://schemas.microsoft.com/office/drawing/2014/main" id="{4CAC1AF2-BB54-3043-97ED-30677CB46C03}"/>
              </a:ext>
            </a:extLst>
          </p:cNvPr>
          <p:cNvSpPr/>
          <p:nvPr userDrawn="1"/>
        </p:nvSpPr>
        <p:spPr>
          <a:xfrm rot="3600000">
            <a:off x="7645459" y="4013801"/>
            <a:ext cx="1234980" cy="4974953"/>
          </a:xfrm>
          <a:prstGeom prst="roundRect">
            <a:avLst>
              <a:gd name="adj" fmla="val 50000"/>
            </a:avLst>
          </a:prstGeom>
          <a:gradFill flip="none" rotWithShape="1">
            <a:gsLst>
              <a:gs pos="41000">
                <a:schemeClr val="accent1"/>
              </a:gs>
              <a:gs pos="0">
                <a:schemeClr val="accent1">
                  <a:alpha val="10000"/>
                </a:scheme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sp>
        <p:nvSpPr>
          <p:cNvPr id="32" name="Rectangle: Rounded Corners 33">
            <a:extLst>
              <a:ext uri="{FF2B5EF4-FFF2-40B4-BE49-F238E27FC236}">
                <a16:creationId xmlns:a16="http://schemas.microsoft.com/office/drawing/2014/main" id="{76933440-7AC3-B048-8D95-5D824ECB2966}"/>
              </a:ext>
            </a:extLst>
          </p:cNvPr>
          <p:cNvSpPr/>
          <p:nvPr userDrawn="1"/>
        </p:nvSpPr>
        <p:spPr>
          <a:xfrm rot="3600000">
            <a:off x="10312872" y="6210190"/>
            <a:ext cx="171800" cy="1297958"/>
          </a:xfrm>
          <a:prstGeom prst="roundRect">
            <a:avLst>
              <a:gd name="adj" fmla="val 50000"/>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sp>
        <p:nvSpPr>
          <p:cNvPr id="33" name="Rectangle: Rounded Corners 34">
            <a:extLst>
              <a:ext uri="{FF2B5EF4-FFF2-40B4-BE49-F238E27FC236}">
                <a16:creationId xmlns:a16="http://schemas.microsoft.com/office/drawing/2014/main" id="{1640B447-5734-524C-AD31-D881A989448D}"/>
              </a:ext>
            </a:extLst>
          </p:cNvPr>
          <p:cNvSpPr/>
          <p:nvPr userDrawn="1"/>
        </p:nvSpPr>
        <p:spPr>
          <a:xfrm rot="3600000">
            <a:off x="11664668" y="2451242"/>
            <a:ext cx="796273" cy="2741517"/>
          </a:xfrm>
          <a:prstGeom prst="roundRect">
            <a:avLst>
              <a:gd name="adj" fmla="val 50000"/>
            </a:avLst>
          </a:prstGeom>
          <a:gradFill flip="none" rotWithShape="1">
            <a:gsLst>
              <a:gs pos="42000">
                <a:schemeClr val="accent6"/>
              </a:gs>
              <a:gs pos="83000">
                <a:schemeClr val="accent6">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sp>
        <p:nvSpPr>
          <p:cNvPr id="34" name="Oval 33">
            <a:extLst>
              <a:ext uri="{FF2B5EF4-FFF2-40B4-BE49-F238E27FC236}">
                <a16:creationId xmlns:a16="http://schemas.microsoft.com/office/drawing/2014/main" id="{6246303A-45D8-1C48-AFAD-CB94A407177D}"/>
              </a:ext>
            </a:extLst>
          </p:cNvPr>
          <p:cNvSpPr/>
          <p:nvPr userDrawn="1"/>
        </p:nvSpPr>
        <p:spPr>
          <a:xfrm>
            <a:off x="11658774" y="1533818"/>
            <a:ext cx="462455" cy="462454"/>
          </a:xfrm>
          <a:prstGeom prst="ellipse">
            <a:avLst/>
          </a:prstGeom>
          <a:gradFill>
            <a:gsLst>
              <a:gs pos="11000">
                <a:schemeClr val="accent1">
                  <a:alpha val="0"/>
                </a:schemeClr>
              </a:gs>
              <a:gs pos="77000">
                <a:schemeClr val="accent1">
                  <a:alpha val="85000"/>
                </a:schemeClr>
              </a:gs>
            </a:gsLst>
            <a:lin ang="19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sp>
        <p:nvSpPr>
          <p:cNvPr id="35" name="Rectangle: Rounded Corners 36">
            <a:extLst>
              <a:ext uri="{FF2B5EF4-FFF2-40B4-BE49-F238E27FC236}">
                <a16:creationId xmlns:a16="http://schemas.microsoft.com/office/drawing/2014/main" id="{0859E1D4-EC1B-1946-94CB-E79999390306}"/>
              </a:ext>
            </a:extLst>
          </p:cNvPr>
          <p:cNvSpPr/>
          <p:nvPr userDrawn="1"/>
        </p:nvSpPr>
        <p:spPr>
          <a:xfrm rot="3600000">
            <a:off x="6991995" y="2973278"/>
            <a:ext cx="924886" cy="6194983"/>
          </a:xfrm>
          <a:prstGeom prst="roundRect">
            <a:avLst>
              <a:gd name="adj" fmla="val 50000"/>
            </a:avLst>
          </a:prstGeom>
          <a:gradFill flip="none" rotWithShape="1">
            <a:gsLst>
              <a:gs pos="28000">
                <a:schemeClr val="accent5">
                  <a:alpha val="80000"/>
                </a:schemeClr>
              </a:gs>
              <a:gs pos="100000">
                <a:schemeClr val="accent5">
                  <a:alpha val="0"/>
                </a:schemeClr>
              </a:gs>
            </a:gsLst>
            <a:lin ang="16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sp>
        <p:nvSpPr>
          <p:cNvPr id="17" name="Title 1">
            <a:extLst>
              <a:ext uri="{FF2B5EF4-FFF2-40B4-BE49-F238E27FC236}">
                <a16:creationId xmlns:a16="http://schemas.microsoft.com/office/drawing/2014/main" id="{D35ADA83-D881-4044-AFE0-298DA8676415}"/>
              </a:ext>
            </a:extLst>
          </p:cNvPr>
          <p:cNvSpPr>
            <a:spLocks noGrp="1"/>
          </p:cNvSpPr>
          <p:nvPr>
            <p:ph type="ctrTitle" hasCustomPrompt="1"/>
          </p:nvPr>
        </p:nvSpPr>
        <p:spPr>
          <a:xfrm>
            <a:off x="1343025" y="2286000"/>
            <a:ext cx="5616575" cy="1884008"/>
          </a:xfrm>
        </p:spPr>
        <p:txBody>
          <a:bodyPr>
            <a:normAutofit/>
          </a:bodyPr>
          <a:lstStyle>
            <a:lvl1pPr marL="0" indent="0" algn="l">
              <a:lnSpc>
                <a:spcPct val="100000"/>
              </a:lnSpc>
              <a:buFont typeface="Arial" panose="020B0604020202020204" pitchFamily="34" charset="0"/>
              <a:buNone/>
              <a:defRPr sz="5400" b="1" i="0" baseline="0">
                <a:solidFill>
                  <a:schemeClr val="accent1"/>
                </a:solidFill>
              </a:defRPr>
            </a:lvl1pPr>
          </a:lstStyle>
          <a:p>
            <a:r>
              <a:rPr lang="en-GB" dirty="0"/>
              <a:t>Title Slide</a:t>
            </a:r>
            <a:endParaRPr lang="en-GB" noProof="0" dirty="0"/>
          </a:p>
        </p:txBody>
      </p:sp>
      <p:sp>
        <p:nvSpPr>
          <p:cNvPr id="18" name="Subtitle 2">
            <a:extLst>
              <a:ext uri="{FF2B5EF4-FFF2-40B4-BE49-F238E27FC236}">
                <a16:creationId xmlns:a16="http://schemas.microsoft.com/office/drawing/2014/main" id="{77215819-A847-5241-B583-AD63535F3EAC}"/>
              </a:ext>
            </a:extLst>
          </p:cNvPr>
          <p:cNvSpPr>
            <a:spLocks noGrp="1"/>
          </p:cNvSpPr>
          <p:nvPr>
            <p:ph type="subTitle" idx="1"/>
          </p:nvPr>
        </p:nvSpPr>
        <p:spPr>
          <a:xfrm>
            <a:off x="1343025" y="4170008"/>
            <a:ext cx="5597668" cy="1154381"/>
          </a:xfrm>
        </p:spPr>
        <p:txBody>
          <a:bodyPr>
            <a:normAutofit/>
          </a:bodyPr>
          <a:lstStyle>
            <a:lvl1pPr marL="0" indent="0" algn="l">
              <a:lnSpc>
                <a:spcPct val="100000"/>
              </a:lnSpc>
              <a:spcAft>
                <a:spcPts val="0"/>
              </a:spcAft>
              <a:buFont typeface="Arial" panose="020B0604020202020204" pitchFamily="34" charset="0"/>
              <a:buNone/>
              <a:defRPr sz="2800">
                <a:solidFill>
                  <a:schemeClr val="accent4"/>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Click to edit Master subtitle style</a:t>
            </a:r>
            <a:endParaRPr lang="en-GB" noProof="0" dirty="0"/>
          </a:p>
        </p:txBody>
      </p:sp>
      <p:grpSp>
        <p:nvGrpSpPr>
          <p:cNvPr id="20" name="Group 19">
            <a:extLst>
              <a:ext uri="{FF2B5EF4-FFF2-40B4-BE49-F238E27FC236}">
                <a16:creationId xmlns:a16="http://schemas.microsoft.com/office/drawing/2014/main" id="{A6F8ECB5-E7B2-7A4B-8B99-DB635BCCE149}"/>
              </a:ext>
            </a:extLst>
          </p:cNvPr>
          <p:cNvGrpSpPr/>
          <p:nvPr userDrawn="1"/>
        </p:nvGrpSpPr>
        <p:grpSpPr>
          <a:xfrm>
            <a:off x="471601" y="443753"/>
            <a:ext cx="1087896" cy="425720"/>
            <a:chOff x="3562350" y="3567113"/>
            <a:chExt cx="3476625" cy="1360487"/>
          </a:xfrm>
          <a:solidFill>
            <a:schemeClr val="accent1"/>
          </a:solidFill>
        </p:grpSpPr>
        <p:sp>
          <p:nvSpPr>
            <p:cNvPr id="21" name="Freeform 1">
              <a:extLst>
                <a:ext uri="{FF2B5EF4-FFF2-40B4-BE49-F238E27FC236}">
                  <a16:creationId xmlns:a16="http://schemas.microsoft.com/office/drawing/2014/main" id="{F5A30EBD-E82B-704B-82C3-3EA30A2566E9}"/>
                </a:ext>
              </a:extLst>
            </p:cNvPr>
            <p:cNvSpPr>
              <a:spLocks noChangeArrowheads="1"/>
            </p:cNvSpPr>
            <p:nvPr/>
          </p:nvSpPr>
          <p:spPr bwMode="auto">
            <a:xfrm>
              <a:off x="4710113" y="3800475"/>
              <a:ext cx="1136650" cy="1127125"/>
            </a:xfrm>
            <a:custGeom>
              <a:avLst/>
              <a:gdLst>
                <a:gd name="T0" fmla="*/ 10 w 3158"/>
                <a:gd name="T1" fmla="*/ 1539 h 3130"/>
                <a:gd name="T2" fmla="*/ 1599 w 3158"/>
                <a:gd name="T3" fmla="*/ 13 h 3130"/>
                <a:gd name="T4" fmla="*/ 3148 w 3158"/>
                <a:gd name="T5" fmla="*/ 1584 h 3130"/>
                <a:gd name="T6" fmla="*/ 1560 w 3158"/>
                <a:gd name="T7" fmla="*/ 3116 h 3130"/>
                <a:gd name="T8" fmla="*/ 10 w 3158"/>
                <a:gd name="T9" fmla="*/ 1545 h 3130"/>
                <a:gd name="T10" fmla="*/ 10 w 3158"/>
                <a:gd name="T11" fmla="*/ 1539 h 3130"/>
                <a:gd name="T12" fmla="*/ 711 w 3158"/>
                <a:gd name="T13" fmla="*/ 1553 h 3130"/>
                <a:gd name="T14" fmla="*/ 1568 w 3158"/>
                <a:gd name="T15" fmla="*/ 2456 h 3130"/>
                <a:gd name="T16" fmla="*/ 2446 w 3158"/>
                <a:gd name="T17" fmla="*/ 1570 h 3130"/>
                <a:gd name="T18" fmla="*/ 1591 w 3158"/>
                <a:gd name="T19" fmla="*/ 662 h 3130"/>
                <a:gd name="T20" fmla="*/ 712 w 3158"/>
                <a:gd name="T21" fmla="*/ 1548 h 3130"/>
                <a:gd name="T22" fmla="*/ 711 w 3158"/>
                <a:gd name="T23" fmla="*/ 1553 h 3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58" h="3130">
                  <a:moveTo>
                    <a:pt x="10" y="1539"/>
                  </a:moveTo>
                  <a:cubicBezTo>
                    <a:pt x="19" y="790"/>
                    <a:pt x="578" y="0"/>
                    <a:pt x="1599" y="13"/>
                  </a:cubicBezTo>
                  <a:cubicBezTo>
                    <a:pt x="2619" y="26"/>
                    <a:pt x="3157" y="830"/>
                    <a:pt x="3148" y="1584"/>
                  </a:cubicBezTo>
                  <a:cubicBezTo>
                    <a:pt x="3138" y="2341"/>
                    <a:pt x="2579" y="3129"/>
                    <a:pt x="1560" y="3116"/>
                  </a:cubicBezTo>
                  <a:cubicBezTo>
                    <a:pt x="539" y="3104"/>
                    <a:pt x="0" y="2302"/>
                    <a:pt x="10" y="1545"/>
                  </a:cubicBezTo>
                  <a:lnTo>
                    <a:pt x="10" y="1539"/>
                  </a:lnTo>
                  <a:close/>
                  <a:moveTo>
                    <a:pt x="711" y="1553"/>
                  </a:moveTo>
                  <a:cubicBezTo>
                    <a:pt x="705" y="2065"/>
                    <a:pt x="1089" y="2451"/>
                    <a:pt x="1568" y="2456"/>
                  </a:cubicBezTo>
                  <a:cubicBezTo>
                    <a:pt x="2047" y="2462"/>
                    <a:pt x="2440" y="2087"/>
                    <a:pt x="2446" y="1570"/>
                  </a:cubicBezTo>
                  <a:cubicBezTo>
                    <a:pt x="2453" y="1054"/>
                    <a:pt x="2070" y="669"/>
                    <a:pt x="1591" y="662"/>
                  </a:cubicBezTo>
                  <a:cubicBezTo>
                    <a:pt x="1112" y="656"/>
                    <a:pt x="718" y="1032"/>
                    <a:pt x="712" y="1548"/>
                  </a:cubicBezTo>
                  <a:lnTo>
                    <a:pt x="711" y="1553"/>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a:p>
          </p:txBody>
        </p:sp>
        <p:sp>
          <p:nvSpPr>
            <p:cNvPr id="22" name="Freeform 2">
              <a:extLst>
                <a:ext uri="{FF2B5EF4-FFF2-40B4-BE49-F238E27FC236}">
                  <a16:creationId xmlns:a16="http://schemas.microsoft.com/office/drawing/2014/main" id="{052C18BC-4691-C944-B4F8-D34EE5BAAE66}"/>
                </a:ext>
              </a:extLst>
            </p:cNvPr>
            <p:cNvSpPr>
              <a:spLocks noChangeArrowheads="1"/>
            </p:cNvSpPr>
            <p:nvPr/>
          </p:nvSpPr>
          <p:spPr bwMode="auto">
            <a:xfrm>
              <a:off x="5969000" y="3567113"/>
              <a:ext cx="455613" cy="1338262"/>
            </a:xfrm>
            <a:custGeom>
              <a:avLst/>
              <a:gdLst>
                <a:gd name="T0" fmla="*/ 971 w 1264"/>
                <a:gd name="T1" fmla="*/ 3165 h 3717"/>
                <a:gd name="T2" fmla="*/ 765 w 1264"/>
                <a:gd name="T3" fmla="*/ 2983 h 3717"/>
                <a:gd name="T4" fmla="*/ 803 w 1264"/>
                <a:gd name="T5" fmla="*/ 9 h 3717"/>
                <a:gd name="T6" fmla="*/ 101 w 1264"/>
                <a:gd name="T7" fmla="*/ 0 h 3717"/>
                <a:gd name="T8" fmla="*/ 64 w 1264"/>
                <a:gd name="T9" fmla="*/ 2965 h 3717"/>
                <a:gd name="T10" fmla="*/ 696 w 1264"/>
                <a:gd name="T11" fmla="*/ 3708 h 3717"/>
                <a:gd name="T12" fmla="*/ 696 w 1264"/>
                <a:gd name="T13" fmla="*/ 3709 h 3717"/>
                <a:gd name="T14" fmla="*/ 1256 w 1264"/>
                <a:gd name="T15" fmla="*/ 3716 h 3717"/>
                <a:gd name="T16" fmla="*/ 1263 w 1264"/>
                <a:gd name="T17" fmla="*/ 3168 h 3717"/>
                <a:gd name="T18" fmla="*/ 971 w 1264"/>
                <a:gd name="T19" fmla="*/ 3165 h 37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64" h="3717">
                  <a:moveTo>
                    <a:pt x="971" y="3165"/>
                  </a:moveTo>
                  <a:cubicBezTo>
                    <a:pt x="971" y="3165"/>
                    <a:pt x="768" y="3164"/>
                    <a:pt x="765" y="2983"/>
                  </a:cubicBezTo>
                  <a:lnTo>
                    <a:pt x="803" y="9"/>
                  </a:lnTo>
                  <a:lnTo>
                    <a:pt x="101" y="0"/>
                  </a:lnTo>
                  <a:lnTo>
                    <a:pt x="64" y="2965"/>
                  </a:lnTo>
                  <a:cubicBezTo>
                    <a:pt x="64" y="2965"/>
                    <a:pt x="0" y="3699"/>
                    <a:pt x="696" y="3708"/>
                  </a:cubicBezTo>
                  <a:lnTo>
                    <a:pt x="696" y="3709"/>
                  </a:lnTo>
                  <a:lnTo>
                    <a:pt x="1256" y="3716"/>
                  </a:lnTo>
                  <a:lnTo>
                    <a:pt x="1263" y="3168"/>
                  </a:lnTo>
                  <a:lnTo>
                    <a:pt x="971" y="316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a:p>
          </p:txBody>
        </p:sp>
        <p:sp>
          <p:nvSpPr>
            <p:cNvPr id="23" name="Freeform 3">
              <a:extLst>
                <a:ext uri="{FF2B5EF4-FFF2-40B4-BE49-F238E27FC236}">
                  <a16:creationId xmlns:a16="http://schemas.microsoft.com/office/drawing/2014/main" id="{C8FE4F66-26D3-F14D-BC0D-9563E27ADF3F}"/>
                </a:ext>
              </a:extLst>
            </p:cNvPr>
            <p:cNvSpPr>
              <a:spLocks noChangeArrowheads="1"/>
            </p:cNvSpPr>
            <p:nvPr/>
          </p:nvSpPr>
          <p:spPr bwMode="auto">
            <a:xfrm>
              <a:off x="3562350" y="3786188"/>
              <a:ext cx="1069975" cy="1127125"/>
            </a:xfrm>
            <a:custGeom>
              <a:avLst/>
              <a:gdLst>
                <a:gd name="T0" fmla="*/ 2366 w 2971"/>
                <a:gd name="T1" fmla="*/ 1976 h 3132"/>
                <a:gd name="T2" fmla="*/ 1569 w 2971"/>
                <a:gd name="T3" fmla="*/ 2468 h 3132"/>
                <a:gd name="T4" fmla="*/ 716 w 2971"/>
                <a:gd name="T5" fmla="*/ 1556 h 3132"/>
                <a:gd name="T6" fmla="*/ 966 w 2971"/>
                <a:gd name="T7" fmla="*/ 910 h 3132"/>
                <a:gd name="T8" fmla="*/ 1593 w 2971"/>
                <a:gd name="T9" fmla="*/ 667 h 3132"/>
                <a:gd name="T10" fmla="*/ 2376 w 2971"/>
                <a:gd name="T11" fmla="*/ 1201 h 3132"/>
                <a:gd name="T12" fmla="*/ 2970 w 2971"/>
                <a:gd name="T13" fmla="*/ 871 h 3132"/>
                <a:gd name="T14" fmla="*/ 1576 w 2971"/>
                <a:gd name="T15" fmla="*/ 12 h 3132"/>
                <a:gd name="T16" fmla="*/ 11 w 2971"/>
                <a:gd name="T17" fmla="*/ 1545 h 3132"/>
                <a:gd name="T18" fmla="*/ 1559 w 2971"/>
                <a:gd name="T19" fmla="*/ 3123 h 3132"/>
                <a:gd name="T20" fmla="*/ 2950 w 2971"/>
                <a:gd name="T21" fmla="*/ 2314 h 3132"/>
                <a:gd name="T22" fmla="*/ 2379 w 2971"/>
                <a:gd name="T23" fmla="*/ 1977 h 3132"/>
                <a:gd name="T24" fmla="*/ 2366 w 2971"/>
                <a:gd name="T25" fmla="*/ 1976 h 3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71" h="3132">
                  <a:moveTo>
                    <a:pt x="2366" y="1976"/>
                  </a:moveTo>
                  <a:cubicBezTo>
                    <a:pt x="2256" y="2216"/>
                    <a:pt x="2006" y="2472"/>
                    <a:pt x="1569" y="2468"/>
                  </a:cubicBezTo>
                  <a:cubicBezTo>
                    <a:pt x="1072" y="2462"/>
                    <a:pt x="710" y="2081"/>
                    <a:pt x="716" y="1556"/>
                  </a:cubicBezTo>
                  <a:cubicBezTo>
                    <a:pt x="720" y="1300"/>
                    <a:pt x="815" y="1064"/>
                    <a:pt x="966" y="910"/>
                  </a:cubicBezTo>
                  <a:cubicBezTo>
                    <a:pt x="1138" y="742"/>
                    <a:pt x="1337" y="657"/>
                    <a:pt x="1593" y="667"/>
                  </a:cubicBezTo>
                  <a:cubicBezTo>
                    <a:pt x="1976" y="670"/>
                    <a:pt x="2254" y="891"/>
                    <a:pt x="2376" y="1201"/>
                  </a:cubicBezTo>
                  <a:lnTo>
                    <a:pt x="2970" y="871"/>
                  </a:lnTo>
                  <a:cubicBezTo>
                    <a:pt x="2716" y="350"/>
                    <a:pt x="2184" y="19"/>
                    <a:pt x="1576" y="12"/>
                  </a:cubicBezTo>
                  <a:cubicBezTo>
                    <a:pt x="696" y="0"/>
                    <a:pt x="22" y="683"/>
                    <a:pt x="11" y="1545"/>
                  </a:cubicBezTo>
                  <a:cubicBezTo>
                    <a:pt x="0" y="2384"/>
                    <a:pt x="634" y="3111"/>
                    <a:pt x="1559" y="3123"/>
                  </a:cubicBezTo>
                  <a:cubicBezTo>
                    <a:pt x="2184" y="3131"/>
                    <a:pt x="2691" y="2793"/>
                    <a:pt x="2950" y="2314"/>
                  </a:cubicBezTo>
                  <a:lnTo>
                    <a:pt x="2379" y="1977"/>
                  </a:lnTo>
                  <a:lnTo>
                    <a:pt x="2366" y="197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a:p>
          </p:txBody>
        </p:sp>
        <p:sp>
          <p:nvSpPr>
            <p:cNvPr id="24" name="Freeform 4">
              <a:extLst>
                <a:ext uri="{FF2B5EF4-FFF2-40B4-BE49-F238E27FC236}">
                  <a16:creationId xmlns:a16="http://schemas.microsoft.com/office/drawing/2014/main" id="{B89CD3C7-47C6-644A-A104-4641D7DFF64B}"/>
                </a:ext>
              </a:extLst>
            </p:cNvPr>
            <p:cNvSpPr>
              <a:spLocks noChangeArrowheads="1"/>
            </p:cNvSpPr>
            <p:nvPr/>
          </p:nvSpPr>
          <p:spPr bwMode="auto">
            <a:xfrm>
              <a:off x="6546850" y="3575050"/>
              <a:ext cx="492125" cy="1338263"/>
            </a:xfrm>
            <a:custGeom>
              <a:avLst/>
              <a:gdLst>
                <a:gd name="T0" fmla="*/ 960 w 1365"/>
                <a:gd name="T1" fmla="*/ 3164 h 3718"/>
                <a:gd name="T2" fmla="*/ 753 w 1365"/>
                <a:gd name="T3" fmla="*/ 2983 h 3718"/>
                <a:gd name="T4" fmla="*/ 773 w 1365"/>
                <a:gd name="T5" fmla="*/ 1401 h 3718"/>
                <a:gd name="T6" fmla="*/ 1336 w 1365"/>
                <a:gd name="T7" fmla="*/ 1408 h 3718"/>
                <a:gd name="T8" fmla="*/ 1343 w 1365"/>
                <a:gd name="T9" fmla="*/ 860 h 3718"/>
                <a:gd name="T10" fmla="*/ 780 w 1365"/>
                <a:gd name="T11" fmla="*/ 853 h 3718"/>
                <a:gd name="T12" fmla="*/ 791 w 1365"/>
                <a:gd name="T13" fmla="*/ 9 h 3718"/>
                <a:gd name="T14" fmla="*/ 89 w 1365"/>
                <a:gd name="T15" fmla="*/ 0 h 3718"/>
                <a:gd name="T16" fmla="*/ 51 w 1365"/>
                <a:gd name="T17" fmla="*/ 2965 h 3718"/>
                <a:gd name="T18" fmla="*/ 683 w 1365"/>
                <a:gd name="T19" fmla="*/ 3708 h 3718"/>
                <a:gd name="T20" fmla="*/ 684 w 1365"/>
                <a:gd name="T21" fmla="*/ 3708 h 3718"/>
                <a:gd name="T22" fmla="*/ 1357 w 1365"/>
                <a:gd name="T23" fmla="*/ 3717 h 3718"/>
                <a:gd name="T24" fmla="*/ 1364 w 1365"/>
                <a:gd name="T25" fmla="*/ 3169 h 3718"/>
                <a:gd name="T26" fmla="*/ 960 w 1365"/>
                <a:gd name="T27" fmla="*/ 3164 h 3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65" h="3718">
                  <a:moveTo>
                    <a:pt x="960" y="3164"/>
                  </a:moveTo>
                  <a:cubicBezTo>
                    <a:pt x="960" y="3164"/>
                    <a:pt x="756" y="3164"/>
                    <a:pt x="753" y="2983"/>
                  </a:cubicBezTo>
                  <a:lnTo>
                    <a:pt x="773" y="1401"/>
                  </a:lnTo>
                  <a:lnTo>
                    <a:pt x="1336" y="1408"/>
                  </a:lnTo>
                  <a:lnTo>
                    <a:pt x="1343" y="860"/>
                  </a:lnTo>
                  <a:lnTo>
                    <a:pt x="780" y="853"/>
                  </a:lnTo>
                  <a:lnTo>
                    <a:pt x="791" y="9"/>
                  </a:lnTo>
                  <a:lnTo>
                    <a:pt x="89" y="0"/>
                  </a:lnTo>
                  <a:lnTo>
                    <a:pt x="51" y="2965"/>
                  </a:lnTo>
                  <a:cubicBezTo>
                    <a:pt x="51" y="2965"/>
                    <a:pt x="0" y="3701"/>
                    <a:pt x="683" y="3708"/>
                  </a:cubicBezTo>
                  <a:lnTo>
                    <a:pt x="684" y="3708"/>
                  </a:lnTo>
                  <a:lnTo>
                    <a:pt x="1357" y="3717"/>
                  </a:lnTo>
                  <a:lnTo>
                    <a:pt x="1364" y="3169"/>
                  </a:lnTo>
                  <a:lnTo>
                    <a:pt x="960" y="316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a:p>
          </p:txBody>
        </p:sp>
      </p:grpSp>
      <p:sp>
        <p:nvSpPr>
          <p:cNvPr id="36" name="Date Placeholder 3">
            <a:extLst>
              <a:ext uri="{FF2B5EF4-FFF2-40B4-BE49-F238E27FC236}">
                <a16:creationId xmlns:a16="http://schemas.microsoft.com/office/drawing/2014/main" id="{88CFAB5D-8DF8-DC4E-AE40-50BD2AEDDF85}"/>
              </a:ext>
            </a:extLst>
          </p:cNvPr>
          <p:cNvSpPr>
            <a:spLocks noGrp="1"/>
          </p:cNvSpPr>
          <p:nvPr>
            <p:ph type="dt" sz="half" idx="10"/>
          </p:nvPr>
        </p:nvSpPr>
        <p:spPr>
          <a:xfrm>
            <a:off x="1343025" y="5324388"/>
            <a:ext cx="3776460" cy="339811"/>
          </a:xfrm>
          <a:prstGeom prst="rect">
            <a:avLst/>
          </a:prstGeom>
        </p:spPr>
        <p:txBody>
          <a:bodyPr lIns="0" anchor="t" anchorCtr="0"/>
          <a:lstStyle>
            <a:lvl1pPr>
              <a:lnSpc>
                <a:spcPts val="1590"/>
              </a:lnSpc>
              <a:defRPr sz="1410" b="1">
                <a:solidFill>
                  <a:schemeClr val="accent6"/>
                </a:solidFill>
              </a:defRPr>
            </a:lvl1pPr>
          </a:lstStyle>
          <a:p>
            <a:r>
              <a:rPr lang="en-GB" dirty="0"/>
              <a:t>Date</a:t>
            </a:r>
          </a:p>
        </p:txBody>
      </p:sp>
    </p:spTree>
    <p:extLst>
      <p:ext uri="{BB962C8B-B14F-4D97-AF65-F5344CB8AC3E}">
        <p14:creationId xmlns:p14="http://schemas.microsoft.com/office/powerpoint/2010/main" val="292141280"/>
      </p:ext>
    </p:extLst>
  </p:cSld>
  <p:clrMapOvr>
    <a:masterClrMapping/>
  </p:clrMapOvr>
  <p:extLst>
    <p:ext uri="{DCECCB84-F9BA-43D5-87BE-67443E8EF086}">
      <p15:sldGuideLst xmlns:p15="http://schemas.microsoft.com/office/powerpoint/2012/main">
        <p15:guide id="1" pos="982">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62BC36-3243-45C6-B8D6-90C91E4CE113}"/>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388FEBB9-1991-46A8-82D5-20A2DAE344BB}"/>
              </a:ext>
            </a:extLst>
          </p:cNvPr>
          <p:cNvSpPr>
            <a:spLocks noGrp="1"/>
          </p:cNvSpPr>
          <p:nvPr>
            <p:ph sz="half" idx="1"/>
          </p:nvPr>
        </p:nvSpPr>
        <p:spPr>
          <a:xfrm>
            <a:off x="442914" y="1376365"/>
            <a:ext cx="5354628" cy="4789486"/>
          </a:xfrm>
        </p:spPr>
        <p:txBody>
          <a:bodyPr/>
          <a:lstStyle>
            <a:lvl5pPr marL="0" inden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a:extLst>
              <a:ext uri="{FF2B5EF4-FFF2-40B4-BE49-F238E27FC236}">
                <a16:creationId xmlns:a16="http://schemas.microsoft.com/office/drawing/2014/main" id="{0571CB3D-C781-4449-861E-1FA2E0B0744F}"/>
              </a:ext>
            </a:extLst>
          </p:cNvPr>
          <p:cNvSpPr>
            <a:spLocks noGrp="1"/>
          </p:cNvSpPr>
          <p:nvPr>
            <p:ph sz="half" idx="2"/>
          </p:nvPr>
        </p:nvSpPr>
        <p:spPr>
          <a:xfrm>
            <a:off x="6096000" y="1376363"/>
            <a:ext cx="5328592" cy="4789487"/>
          </a:xfrm>
        </p:spPr>
        <p:txBody>
          <a:bodyPr/>
          <a:lstStyle>
            <a:lvl5pPr marL="0" inden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Slide Number Placeholder 6">
            <a:extLst>
              <a:ext uri="{FF2B5EF4-FFF2-40B4-BE49-F238E27FC236}">
                <a16:creationId xmlns:a16="http://schemas.microsoft.com/office/drawing/2014/main" id="{B13D9E60-89CF-4BF4-BEF6-984080CABF90}"/>
              </a:ext>
            </a:extLst>
          </p:cNvPr>
          <p:cNvSpPr>
            <a:spLocks noGrp="1"/>
          </p:cNvSpPr>
          <p:nvPr>
            <p:ph type="sldNum" sz="quarter" idx="12"/>
          </p:nvPr>
        </p:nvSpPr>
        <p:spPr>
          <a:xfrm>
            <a:off x="11278800" y="6400800"/>
            <a:ext cx="442800" cy="226800"/>
          </a:xfrm>
        </p:spPr>
        <p:txBody>
          <a:bodyPr vert="horz" lIns="0" tIns="0" rIns="0" bIns="0" rtlCol="0" anchor="t" anchorCtr="0">
            <a:noAutofit/>
          </a:bodyPr>
          <a:lstStyle>
            <a:lvl1pPr>
              <a:defRPr lang="en-GB" smtClean="0"/>
            </a:lvl1pPr>
          </a:lstStyle>
          <a:p>
            <a:pPr algn="r">
              <a:lnSpc>
                <a:spcPts val="970"/>
              </a:lnSpc>
            </a:pPr>
            <a:fld id="{24A935F8-6F02-46CF-898B-F9D6B7DB9D8E}" type="slidenum">
              <a:rPr lang="en-GB" smtClean="0"/>
              <a:pPr algn="r">
                <a:lnSpc>
                  <a:spcPts val="970"/>
                </a:lnSpc>
              </a:pPr>
              <a:t>‹#›</a:t>
            </a:fld>
            <a:endParaRPr lang="en-GB"/>
          </a:p>
        </p:txBody>
      </p:sp>
    </p:spTree>
    <p:extLst>
      <p:ext uri="{BB962C8B-B14F-4D97-AF65-F5344CB8AC3E}">
        <p14:creationId xmlns:p14="http://schemas.microsoft.com/office/powerpoint/2010/main" val="24675601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86DBC5C-C566-4F39-9723-F7D657E59B2D}"/>
              </a:ext>
            </a:extLst>
          </p:cNvPr>
          <p:cNvSpPr>
            <a:spLocks noGrp="1"/>
          </p:cNvSpPr>
          <p:nvPr>
            <p:ph type="body" idx="1"/>
          </p:nvPr>
        </p:nvSpPr>
        <p:spPr>
          <a:xfrm>
            <a:off x="442910" y="1376363"/>
            <a:ext cx="5328593" cy="593114"/>
          </a:xfrm>
        </p:spPr>
        <p:txBody>
          <a:bodyPr anchor="t">
            <a:normAutofit/>
          </a:bodyPr>
          <a:lstStyle>
            <a:lvl1pPr marL="0" indent="0">
              <a:buNone/>
              <a:defRPr sz="20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FB17CA9-1BA5-47A1-8ABC-706D96107DA6}"/>
              </a:ext>
            </a:extLst>
          </p:cNvPr>
          <p:cNvSpPr>
            <a:spLocks noGrp="1"/>
          </p:cNvSpPr>
          <p:nvPr>
            <p:ph sz="half" idx="2"/>
          </p:nvPr>
        </p:nvSpPr>
        <p:spPr>
          <a:xfrm>
            <a:off x="442911" y="1969477"/>
            <a:ext cx="5328593" cy="41963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4">
            <a:extLst>
              <a:ext uri="{FF2B5EF4-FFF2-40B4-BE49-F238E27FC236}">
                <a16:creationId xmlns:a16="http://schemas.microsoft.com/office/drawing/2014/main" id="{8E92719B-D74F-4EFB-B1CF-BC7D5E56A6E5}"/>
              </a:ext>
            </a:extLst>
          </p:cNvPr>
          <p:cNvSpPr>
            <a:spLocks noGrp="1"/>
          </p:cNvSpPr>
          <p:nvPr>
            <p:ph type="body" sz="quarter" idx="3"/>
          </p:nvPr>
        </p:nvSpPr>
        <p:spPr>
          <a:xfrm>
            <a:off x="6096000" y="1376363"/>
            <a:ext cx="5328591" cy="593114"/>
          </a:xfrm>
        </p:spPr>
        <p:txBody>
          <a:bodyPr anchor="t">
            <a:normAutofit/>
          </a:bodyPr>
          <a:lstStyle>
            <a:lvl1pPr marL="0" indent="0">
              <a:buNone/>
              <a:defRPr sz="20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166FF3E-7F4C-4D4F-A732-9308533AA8FA}"/>
              </a:ext>
            </a:extLst>
          </p:cNvPr>
          <p:cNvSpPr>
            <a:spLocks noGrp="1"/>
          </p:cNvSpPr>
          <p:nvPr>
            <p:ph sz="quarter" idx="4"/>
          </p:nvPr>
        </p:nvSpPr>
        <p:spPr>
          <a:xfrm>
            <a:off x="6095999" y="1969477"/>
            <a:ext cx="5328593" cy="41963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Slide Number Placeholder 8">
            <a:extLst>
              <a:ext uri="{FF2B5EF4-FFF2-40B4-BE49-F238E27FC236}">
                <a16:creationId xmlns:a16="http://schemas.microsoft.com/office/drawing/2014/main" id="{44373070-CA0D-4902-A9F1-2380E4992865}"/>
              </a:ext>
            </a:extLst>
          </p:cNvPr>
          <p:cNvSpPr>
            <a:spLocks noGrp="1"/>
          </p:cNvSpPr>
          <p:nvPr>
            <p:ph type="sldNum" sz="quarter" idx="12"/>
          </p:nvPr>
        </p:nvSpPr>
        <p:spPr>
          <a:xfrm>
            <a:off x="11278800" y="6400800"/>
            <a:ext cx="442800" cy="226800"/>
          </a:xfrm>
        </p:spPr>
        <p:txBody>
          <a:bodyPr vert="horz" lIns="0" tIns="0" rIns="0" bIns="0" rtlCol="0" anchor="t" anchorCtr="0">
            <a:noAutofit/>
          </a:bodyPr>
          <a:lstStyle>
            <a:lvl1pPr>
              <a:defRPr lang="en-GB" smtClean="0"/>
            </a:lvl1pPr>
          </a:lstStyle>
          <a:p>
            <a:pPr algn="r">
              <a:lnSpc>
                <a:spcPts val="970"/>
              </a:lnSpc>
            </a:pPr>
            <a:fld id="{24A935F8-6F02-46CF-898B-F9D6B7DB9D8E}" type="slidenum">
              <a:rPr lang="en-GB" smtClean="0"/>
              <a:pPr algn="r">
                <a:lnSpc>
                  <a:spcPts val="970"/>
                </a:lnSpc>
              </a:pPr>
              <a:t>‹#›</a:t>
            </a:fld>
            <a:endParaRPr lang="en-GB"/>
          </a:p>
        </p:txBody>
      </p:sp>
      <p:sp>
        <p:nvSpPr>
          <p:cNvPr id="10" name="Title 9">
            <a:extLst>
              <a:ext uri="{FF2B5EF4-FFF2-40B4-BE49-F238E27FC236}">
                <a16:creationId xmlns:a16="http://schemas.microsoft.com/office/drawing/2014/main" id="{1CF7AB2A-3DBF-4D3F-A954-196C7ED02768}"/>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28697994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8" name="Freeform 67">
            <a:extLst>
              <a:ext uri="{FF2B5EF4-FFF2-40B4-BE49-F238E27FC236}">
                <a16:creationId xmlns:a16="http://schemas.microsoft.com/office/drawing/2014/main" id="{F6E627BD-49CF-47F3-90F5-8DE5C3B0C487}"/>
              </a:ext>
            </a:extLst>
          </p:cNvPr>
          <p:cNvSpPr>
            <a:spLocks noChangeArrowheads="1"/>
          </p:cNvSpPr>
          <p:nvPr/>
        </p:nvSpPr>
        <p:spPr bwMode="auto">
          <a:xfrm>
            <a:off x="0" y="2991549"/>
            <a:ext cx="921920" cy="1825043"/>
          </a:xfrm>
          <a:custGeom>
            <a:avLst/>
            <a:gdLst>
              <a:gd name="T0" fmla="*/ 155 w 215"/>
              <a:gd name="T1" fmla="*/ 105 h 427"/>
              <a:gd name="T2" fmla="*/ 0 w 215"/>
              <a:gd name="T3" fmla="*/ 0 h 427"/>
              <a:gd name="T4" fmla="*/ 0 w 215"/>
              <a:gd name="T5" fmla="*/ 66 h 427"/>
              <a:gd name="T6" fmla="*/ 98 w 215"/>
              <a:gd name="T7" fmla="*/ 137 h 427"/>
              <a:gd name="T8" fmla="*/ 43 w 215"/>
              <a:gd name="T9" fmla="*/ 343 h 427"/>
              <a:gd name="T10" fmla="*/ 0 w 215"/>
              <a:gd name="T11" fmla="*/ 359 h 427"/>
              <a:gd name="T12" fmla="*/ 0 w 215"/>
              <a:gd name="T13" fmla="*/ 426 h 427"/>
              <a:gd name="T14" fmla="*/ 76 w 215"/>
              <a:gd name="T15" fmla="*/ 400 h 427"/>
              <a:gd name="T16" fmla="*/ 155 w 215"/>
              <a:gd name="T17" fmla="*/ 105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5" h="427">
                <a:moveTo>
                  <a:pt x="155" y="105"/>
                </a:moveTo>
                <a:cubicBezTo>
                  <a:pt x="121" y="47"/>
                  <a:pt x="63" y="10"/>
                  <a:pt x="0" y="0"/>
                </a:cubicBezTo>
                <a:lnTo>
                  <a:pt x="0" y="66"/>
                </a:lnTo>
                <a:cubicBezTo>
                  <a:pt x="41" y="75"/>
                  <a:pt x="77" y="100"/>
                  <a:pt x="98" y="137"/>
                </a:cubicBezTo>
                <a:cubicBezTo>
                  <a:pt x="140" y="209"/>
                  <a:pt x="115" y="301"/>
                  <a:pt x="43" y="343"/>
                </a:cubicBezTo>
                <a:cubicBezTo>
                  <a:pt x="30" y="351"/>
                  <a:pt x="15" y="356"/>
                  <a:pt x="0" y="359"/>
                </a:cubicBezTo>
                <a:lnTo>
                  <a:pt x="0" y="426"/>
                </a:lnTo>
                <a:cubicBezTo>
                  <a:pt x="26" y="422"/>
                  <a:pt x="52" y="413"/>
                  <a:pt x="76" y="400"/>
                </a:cubicBezTo>
                <a:cubicBezTo>
                  <a:pt x="179" y="340"/>
                  <a:pt x="214" y="208"/>
                  <a:pt x="155" y="105"/>
                </a:cubicBezTo>
              </a:path>
            </a:pathLst>
          </a:custGeom>
          <a:solidFill>
            <a:schemeClr val="accent6">
              <a:alpha val="4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9" name="Freeform 68">
            <a:extLst>
              <a:ext uri="{FF2B5EF4-FFF2-40B4-BE49-F238E27FC236}">
                <a16:creationId xmlns:a16="http://schemas.microsoft.com/office/drawing/2014/main" id="{73125E73-2849-4610-906B-E198401E9F42}"/>
              </a:ext>
            </a:extLst>
          </p:cNvPr>
          <p:cNvSpPr>
            <a:spLocks noChangeArrowheads="1"/>
          </p:cNvSpPr>
          <p:nvPr/>
        </p:nvSpPr>
        <p:spPr bwMode="auto">
          <a:xfrm>
            <a:off x="8851840" y="4675650"/>
            <a:ext cx="1937932" cy="2013191"/>
          </a:xfrm>
          <a:custGeom>
            <a:avLst/>
            <a:gdLst>
              <a:gd name="T0" fmla="*/ 324 w 456"/>
              <a:gd name="T1" fmla="*/ 178 h 470"/>
              <a:gd name="T2" fmla="*/ 303 w 456"/>
              <a:gd name="T3" fmla="*/ 14 h 470"/>
              <a:gd name="T4" fmla="*/ 139 w 456"/>
              <a:gd name="T5" fmla="*/ 36 h 470"/>
              <a:gd name="T6" fmla="*/ 60 w 456"/>
              <a:gd name="T7" fmla="*/ 331 h 470"/>
              <a:gd name="T8" fmla="*/ 355 w 456"/>
              <a:gd name="T9" fmla="*/ 410 h 470"/>
              <a:gd name="T10" fmla="*/ 455 w 456"/>
              <a:gd name="T11" fmla="*/ 279 h 470"/>
              <a:gd name="T12" fmla="*/ 324 w 456"/>
              <a:gd name="T13" fmla="*/ 178 h 470"/>
            </a:gdLst>
            <a:ahLst/>
            <a:cxnLst>
              <a:cxn ang="0">
                <a:pos x="T0" y="T1"/>
              </a:cxn>
              <a:cxn ang="0">
                <a:pos x="T2" y="T3"/>
              </a:cxn>
              <a:cxn ang="0">
                <a:pos x="T4" y="T5"/>
              </a:cxn>
              <a:cxn ang="0">
                <a:pos x="T6" y="T7"/>
              </a:cxn>
              <a:cxn ang="0">
                <a:pos x="T8" y="T9"/>
              </a:cxn>
              <a:cxn ang="0">
                <a:pos x="T10" y="T11"/>
              </a:cxn>
              <a:cxn ang="0">
                <a:pos x="T12" y="T13"/>
              </a:cxn>
            </a:cxnLst>
            <a:rect l="0" t="0" r="r" b="b"/>
            <a:pathLst>
              <a:path w="456" h="470">
                <a:moveTo>
                  <a:pt x="324" y="178"/>
                </a:moveTo>
                <a:cubicBezTo>
                  <a:pt x="294" y="126"/>
                  <a:pt x="288" y="67"/>
                  <a:pt x="303" y="14"/>
                </a:cubicBezTo>
                <a:cubicBezTo>
                  <a:pt x="249" y="0"/>
                  <a:pt x="190" y="6"/>
                  <a:pt x="139" y="36"/>
                </a:cubicBezTo>
                <a:cubicBezTo>
                  <a:pt x="36" y="95"/>
                  <a:pt x="0" y="227"/>
                  <a:pt x="60" y="331"/>
                </a:cubicBezTo>
                <a:cubicBezTo>
                  <a:pt x="119" y="434"/>
                  <a:pt x="252" y="469"/>
                  <a:pt x="355" y="410"/>
                </a:cubicBezTo>
                <a:cubicBezTo>
                  <a:pt x="406" y="380"/>
                  <a:pt x="441" y="332"/>
                  <a:pt x="455" y="279"/>
                </a:cubicBezTo>
                <a:cubicBezTo>
                  <a:pt x="402" y="264"/>
                  <a:pt x="354" y="230"/>
                  <a:pt x="324" y="178"/>
                </a:cubicBezTo>
              </a:path>
            </a:pathLst>
          </a:custGeom>
          <a:solidFill>
            <a:schemeClr val="accent5">
              <a:alpha val="4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0" name="Freeform 69">
            <a:extLst>
              <a:ext uri="{FF2B5EF4-FFF2-40B4-BE49-F238E27FC236}">
                <a16:creationId xmlns:a16="http://schemas.microsoft.com/office/drawing/2014/main" id="{085EC0CD-5537-4033-95BA-5B7BE295665E}"/>
              </a:ext>
            </a:extLst>
          </p:cNvPr>
          <p:cNvSpPr>
            <a:spLocks noChangeArrowheads="1"/>
          </p:cNvSpPr>
          <p:nvPr/>
        </p:nvSpPr>
        <p:spPr bwMode="auto">
          <a:xfrm>
            <a:off x="10169576" y="1947508"/>
            <a:ext cx="451556" cy="733772"/>
          </a:xfrm>
          <a:custGeom>
            <a:avLst/>
            <a:gdLst>
              <a:gd name="T0" fmla="*/ 7 w 107"/>
              <a:gd name="T1" fmla="*/ 0 h 173"/>
              <a:gd name="T2" fmla="*/ 24 w 107"/>
              <a:gd name="T3" fmla="*/ 105 h 173"/>
              <a:gd name="T4" fmla="*/ 106 w 107"/>
              <a:gd name="T5" fmla="*/ 172 h 173"/>
              <a:gd name="T6" fmla="*/ 77 w 107"/>
              <a:gd name="T7" fmla="*/ 74 h 173"/>
              <a:gd name="T8" fmla="*/ 7 w 107"/>
              <a:gd name="T9" fmla="*/ 0 h 173"/>
            </a:gdLst>
            <a:ahLst/>
            <a:cxnLst>
              <a:cxn ang="0">
                <a:pos x="T0" y="T1"/>
              </a:cxn>
              <a:cxn ang="0">
                <a:pos x="T2" y="T3"/>
              </a:cxn>
              <a:cxn ang="0">
                <a:pos x="T4" y="T5"/>
              </a:cxn>
              <a:cxn ang="0">
                <a:pos x="T6" y="T7"/>
              </a:cxn>
              <a:cxn ang="0">
                <a:pos x="T8" y="T9"/>
              </a:cxn>
            </a:cxnLst>
            <a:rect l="0" t="0" r="r" b="b"/>
            <a:pathLst>
              <a:path w="107" h="173">
                <a:moveTo>
                  <a:pt x="7" y="0"/>
                </a:moveTo>
                <a:cubicBezTo>
                  <a:pt x="0" y="36"/>
                  <a:pt x="6" y="73"/>
                  <a:pt x="24" y="105"/>
                </a:cubicBezTo>
                <a:cubicBezTo>
                  <a:pt x="42" y="136"/>
                  <a:pt x="72" y="160"/>
                  <a:pt x="106" y="172"/>
                </a:cubicBezTo>
                <a:cubicBezTo>
                  <a:pt x="104" y="138"/>
                  <a:pt x="95" y="105"/>
                  <a:pt x="77" y="74"/>
                </a:cubicBezTo>
                <a:cubicBezTo>
                  <a:pt x="59" y="43"/>
                  <a:pt x="35" y="18"/>
                  <a:pt x="7" y="0"/>
                </a:cubicBezTo>
              </a:path>
            </a:pathLst>
          </a:custGeom>
          <a:solidFill>
            <a:schemeClr val="accent1">
              <a:alpha val="4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1" name="Freeform 70">
            <a:extLst>
              <a:ext uri="{FF2B5EF4-FFF2-40B4-BE49-F238E27FC236}">
                <a16:creationId xmlns:a16="http://schemas.microsoft.com/office/drawing/2014/main" id="{1F65C563-1A5F-4974-AE3F-43C15F4DF605}"/>
              </a:ext>
            </a:extLst>
          </p:cNvPr>
          <p:cNvSpPr>
            <a:spLocks noChangeArrowheads="1"/>
          </p:cNvSpPr>
          <p:nvPr/>
        </p:nvSpPr>
        <p:spPr bwMode="auto">
          <a:xfrm>
            <a:off x="8670862" y="1752545"/>
            <a:ext cx="1937920" cy="2013179"/>
          </a:xfrm>
          <a:custGeom>
            <a:avLst/>
            <a:gdLst>
              <a:gd name="T0" fmla="*/ 355 w 456"/>
              <a:gd name="T1" fmla="*/ 409 h 470"/>
              <a:gd name="T2" fmla="*/ 455 w 456"/>
              <a:gd name="T3" fmla="*/ 279 h 470"/>
              <a:gd name="T4" fmla="*/ 324 w 456"/>
              <a:gd name="T5" fmla="*/ 178 h 470"/>
              <a:gd name="T6" fmla="*/ 303 w 456"/>
              <a:gd name="T7" fmla="*/ 14 h 470"/>
              <a:gd name="T8" fmla="*/ 139 w 456"/>
              <a:gd name="T9" fmla="*/ 36 h 470"/>
              <a:gd name="T10" fmla="*/ 60 w 456"/>
              <a:gd name="T11" fmla="*/ 331 h 470"/>
              <a:gd name="T12" fmla="*/ 355 w 456"/>
              <a:gd name="T13" fmla="*/ 409 h 470"/>
            </a:gdLst>
            <a:ahLst/>
            <a:cxnLst>
              <a:cxn ang="0">
                <a:pos x="T0" y="T1"/>
              </a:cxn>
              <a:cxn ang="0">
                <a:pos x="T2" y="T3"/>
              </a:cxn>
              <a:cxn ang="0">
                <a:pos x="T4" y="T5"/>
              </a:cxn>
              <a:cxn ang="0">
                <a:pos x="T6" y="T7"/>
              </a:cxn>
              <a:cxn ang="0">
                <a:pos x="T8" y="T9"/>
              </a:cxn>
              <a:cxn ang="0">
                <a:pos x="T10" y="T11"/>
              </a:cxn>
              <a:cxn ang="0">
                <a:pos x="T12" y="T13"/>
              </a:cxn>
            </a:cxnLst>
            <a:rect l="0" t="0" r="r" b="b"/>
            <a:pathLst>
              <a:path w="456" h="470">
                <a:moveTo>
                  <a:pt x="355" y="409"/>
                </a:moveTo>
                <a:cubicBezTo>
                  <a:pt x="407" y="379"/>
                  <a:pt x="441" y="332"/>
                  <a:pt x="455" y="279"/>
                </a:cubicBezTo>
                <a:cubicBezTo>
                  <a:pt x="402" y="265"/>
                  <a:pt x="353" y="229"/>
                  <a:pt x="324" y="178"/>
                </a:cubicBezTo>
                <a:cubicBezTo>
                  <a:pt x="294" y="126"/>
                  <a:pt x="288" y="68"/>
                  <a:pt x="303" y="14"/>
                </a:cubicBezTo>
                <a:cubicBezTo>
                  <a:pt x="249" y="0"/>
                  <a:pt x="191" y="6"/>
                  <a:pt x="139" y="36"/>
                </a:cubicBezTo>
                <a:cubicBezTo>
                  <a:pt x="36" y="96"/>
                  <a:pt x="0" y="228"/>
                  <a:pt x="60" y="331"/>
                </a:cubicBezTo>
                <a:cubicBezTo>
                  <a:pt x="120" y="433"/>
                  <a:pt x="252" y="469"/>
                  <a:pt x="355" y="409"/>
                </a:cubicBezTo>
              </a:path>
            </a:pathLst>
          </a:custGeom>
          <a:solidFill>
            <a:schemeClr val="accent1">
              <a:alpha val="4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a:p>
        </p:txBody>
      </p:sp>
      <p:sp>
        <p:nvSpPr>
          <p:cNvPr id="12" name="Freeform 71">
            <a:extLst>
              <a:ext uri="{FF2B5EF4-FFF2-40B4-BE49-F238E27FC236}">
                <a16:creationId xmlns:a16="http://schemas.microsoft.com/office/drawing/2014/main" id="{E52E6DC7-3D71-4068-8E4B-4198314DFAEA}"/>
              </a:ext>
            </a:extLst>
          </p:cNvPr>
          <p:cNvSpPr>
            <a:spLocks noChangeArrowheads="1"/>
          </p:cNvSpPr>
          <p:nvPr/>
        </p:nvSpPr>
        <p:spPr bwMode="auto">
          <a:xfrm>
            <a:off x="9938039" y="1147698"/>
            <a:ext cx="1937932" cy="1843852"/>
          </a:xfrm>
          <a:custGeom>
            <a:avLst/>
            <a:gdLst>
              <a:gd name="T0" fmla="*/ 63 w 456"/>
              <a:gd name="T1" fmla="*/ 177 h 433"/>
              <a:gd name="T2" fmla="*/ 133 w 456"/>
              <a:gd name="T3" fmla="*/ 86 h 433"/>
              <a:gd name="T4" fmla="*/ 208 w 456"/>
              <a:gd name="T5" fmla="*/ 66 h 433"/>
              <a:gd name="T6" fmla="*/ 208 w 456"/>
              <a:gd name="T7" fmla="*/ 66 h 433"/>
              <a:gd name="T8" fmla="*/ 339 w 456"/>
              <a:gd name="T9" fmla="*/ 141 h 433"/>
              <a:gd name="T10" fmla="*/ 284 w 456"/>
              <a:gd name="T11" fmla="*/ 347 h 433"/>
              <a:gd name="T12" fmla="*/ 209 w 456"/>
              <a:gd name="T13" fmla="*/ 367 h 433"/>
              <a:gd name="T14" fmla="*/ 160 w 456"/>
              <a:gd name="T15" fmla="*/ 359 h 433"/>
              <a:gd name="T16" fmla="*/ 152 w 456"/>
              <a:gd name="T17" fmla="*/ 425 h 433"/>
              <a:gd name="T18" fmla="*/ 209 w 456"/>
              <a:gd name="T19" fmla="*/ 432 h 433"/>
              <a:gd name="T20" fmla="*/ 316 w 456"/>
              <a:gd name="T21" fmla="*/ 403 h 433"/>
              <a:gd name="T22" fmla="*/ 395 w 456"/>
              <a:gd name="T23" fmla="*/ 108 h 433"/>
              <a:gd name="T24" fmla="*/ 208 w 456"/>
              <a:gd name="T25" fmla="*/ 0 h 433"/>
              <a:gd name="T26" fmla="*/ 100 w 456"/>
              <a:gd name="T27" fmla="*/ 29 h 433"/>
              <a:gd name="T28" fmla="*/ 0 w 456"/>
              <a:gd name="T29" fmla="*/ 160 h 433"/>
              <a:gd name="T30" fmla="*/ 61 w 456"/>
              <a:gd name="T31" fmla="*/ 187 h 433"/>
              <a:gd name="T32" fmla="*/ 63 w 456"/>
              <a:gd name="T33" fmla="*/ 177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6" h="433">
                <a:moveTo>
                  <a:pt x="63" y="177"/>
                </a:moveTo>
                <a:cubicBezTo>
                  <a:pt x="73" y="139"/>
                  <a:pt x="98" y="106"/>
                  <a:pt x="133" y="86"/>
                </a:cubicBezTo>
                <a:cubicBezTo>
                  <a:pt x="156" y="73"/>
                  <a:pt x="182" y="66"/>
                  <a:pt x="208" y="66"/>
                </a:cubicBezTo>
                <a:lnTo>
                  <a:pt x="208" y="66"/>
                </a:lnTo>
                <a:cubicBezTo>
                  <a:pt x="262" y="66"/>
                  <a:pt x="312" y="95"/>
                  <a:pt x="339" y="141"/>
                </a:cubicBezTo>
                <a:cubicBezTo>
                  <a:pt x="380" y="213"/>
                  <a:pt x="356" y="305"/>
                  <a:pt x="284" y="347"/>
                </a:cubicBezTo>
                <a:cubicBezTo>
                  <a:pt x="261" y="360"/>
                  <a:pt x="235" y="367"/>
                  <a:pt x="209" y="367"/>
                </a:cubicBezTo>
                <a:cubicBezTo>
                  <a:pt x="192" y="367"/>
                  <a:pt x="175" y="364"/>
                  <a:pt x="160" y="359"/>
                </a:cubicBezTo>
                <a:cubicBezTo>
                  <a:pt x="161" y="381"/>
                  <a:pt x="158" y="403"/>
                  <a:pt x="152" y="425"/>
                </a:cubicBezTo>
                <a:cubicBezTo>
                  <a:pt x="171" y="430"/>
                  <a:pt x="190" y="432"/>
                  <a:pt x="209" y="432"/>
                </a:cubicBezTo>
                <a:cubicBezTo>
                  <a:pt x="245" y="432"/>
                  <a:pt x="282" y="423"/>
                  <a:pt x="316" y="403"/>
                </a:cubicBezTo>
                <a:cubicBezTo>
                  <a:pt x="420" y="344"/>
                  <a:pt x="455" y="212"/>
                  <a:pt x="395" y="108"/>
                </a:cubicBezTo>
                <a:cubicBezTo>
                  <a:pt x="355" y="39"/>
                  <a:pt x="283" y="0"/>
                  <a:pt x="208" y="0"/>
                </a:cubicBezTo>
                <a:cubicBezTo>
                  <a:pt x="172" y="0"/>
                  <a:pt x="134" y="10"/>
                  <a:pt x="100" y="29"/>
                </a:cubicBezTo>
                <a:cubicBezTo>
                  <a:pt x="49" y="59"/>
                  <a:pt x="14" y="107"/>
                  <a:pt x="0" y="160"/>
                </a:cubicBezTo>
                <a:cubicBezTo>
                  <a:pt x="21" y="166"/>
                  <a:pt x="42" y="175"/>
                  <a:pt x="61" y="187"/>
                </a:cubicBezTo>
                <a:cubicBezTo>
                  <a:pt x="61" y="184"/>
                  <a:pt x="62" y="181"/>
                  <a:pt x="63" y="177"/>
                </a:cubicBezTo>
              </a:path>
            </a:pathLst>
          </a:custGeom>
          <a:solidFill>
            <a:schemeClr val="accent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3" name="Freeform 72">
            <a:extLst>
              <a:ext uri="{FF2B5EF4-FFF2-40B4-BE49-F238E27FC236}">
                <a16:creationId xmlns:a16="http://schemas.microsoft.com/office/drawing/2014/main" id="{B6315EE1-5FAA-4D29-AA3E-9E77D9BD668B}"/>
              </a:ext>
            </a:extLst>
          </p:cNvPr>
          <p:cNvSpPr>
            <a:spLocks noChangeArrowheads="1"/>
          </p:cNvSpPr>
          <p:nvPr/>
        </p:nvSpPr>
        <p:spPr bwMode="auto">
          <a:xfrm>
            <a:off x="9877772" y="1825031"/>
            <a:ext cx="752593" cy="1128889"/>
          </a:xfrm>
          <a:custGeom>
            <a:avLst/>
            <a:gdLst>
              <a:gd name="T0" fmla="*/ 36 w 177"/>
              <a:gd name="T1" fmla="*/ 164 h 266"/>
              <a:gd name="T2" fmla="*/ 167 w 177"/>
              <a:gd name="T3" fmla="*/ 265 h 266"/>
              <a:gd name="T4" fmla="*/ 175 w 177"/>
              <a:gd name="T5" fmla="*/ 199 h 266"/>
              <a:gd name="T6" fmla="*/ 93 w 177"/>
              <a:gd name="T7" fmla="*/ 132 h 266"/>
              <a:gd name="T8" fmla="*/ 76 w 177"/>
              <a:gd name="T9" fmla="*/ 27 h 266"/>
              <a:gd name="T10" fmla="*/ 15 w 177"/>
              <a:gd name="T11" fmla="*/ 0 h 266"/>
              <a:gd name="T12" fmla="*/ 36 w 177"/>
              <a:gd name="T13" fmla="*/ 164 h 266"/>
            </a:gdLst>
            <a:ahLst/>
            <a:cxnLst>
              <a:cxn ang="0">
                <a:pos x="T0" y="T1"/>
              </a:cxn>
              <a:cxn ang="0">
                <a:pos x="T2" y="T3"/>
              </a:cxn>
              <a:cxn ang="0">
                <a:pos x="T4" y="T5"/>
              </a:cxn>
              <a:cxn ang="0">
                <a:pos x="T6" y="T7"/>
              </a:cxn>
              <a:cxn ang="0">
                <a:pos x="T8" y="T9"/>
              </a:cxn>
              <a:cxn ang="0">
                <a:pos x="T10" y="T11"/>
              </a:cxn>
              <a:cxn ang="0">
                <a:pos x="T12" y="T13"/>
              </a:cxn>
            </a:cxnLst>
            <a:rect l="0" t="0" r="r" b="b"/>
            <a:pathLst>
              <a:path w="177" h="266">
                <a:moveTo>
                  <a:pt x="36" y="164"/>
                </a:moveTo>
                <a:cubicBezTo>
                  <a:pt x="66" y="216"/>
                  <a:pt x="114" y="251"/>
                  <a:pt x="167" y="265"/>
                </a:cubicBezTo>
                <a:cubicBezTo>
                  <a:pt x="173" y="243"/>
                  <a:pt x="176" y="221"/>
                  <a:pt x="175" y="199"/>
                </a:cubicBezTo>
                <a:cubicBezTo>
                  <a:pt x="141" y="187"/>
                  <a:pt x="111" y="163"/>
                  <a:pt x="93" y="132"/>
                </a:cubicBezTo>
                <a:cubicBezTo>
                  <a:pt x="75" y="100"/>
                  <a:pt x="69" y="63"/>
                  <a:pt x="76" y="27"/>
                </a:cubicBezTo>
                <a:cubicBezTo>
                  <a:pt x="57" y="15"/>
                  <a:pt x="36" y="6"/>
                  <a:pt x="15" y="0"/>
                </a:cubicBezTo>
                <a:cubicBezTo>
                  <a:pt x="0" y="54"/>
                  <a:pt x="7" y="113"/>
                  <a:pt x="36" y="164"/>
                </a:cubicBezTo>
              </a:path>
            </a:pathLst>
          </a:custGeom>
          <a:solidFill>
            <a:srgbClr val="0099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a:p>
        </p:txBody>
      </p:sp>
      <p:sp>
        <p:nvSpPr>
          <p:cNvPr id="14" name="Freeform 73">
            <a:extLst>
              <a:ext uri="{FF2B5EF4-FFF2-40B4-BE49-F238E27FC236}">
                <a16:creationId xmlns:a16="http://schemas.microsoft.com/office/drawing/2014/main" id="{1EC5BEE1-0724-4108-9E09-B51210C489C0}"/>
              </a:ext>
            </a:extLst>
          </p:cNvPr>
          <p:cNvSpPr>
            <a:spLocks noChangeArrowheads="1"/>
          </p:cNvSpPr>
          <p:nvPr/>
        </p:nvSpPr>
        <p:spPr bwMode="auto">
          <a:xfrm>
            <a:off x="9877772" y="1825031"/>
            <a:ext cx="752593" cy="1128889"/>
          </a:xfrm>
          <a:custGeom>
            <a:avLst/>
            <a:gdLst>
              <a:gd name="T0" fmla="*/ 36 w 177"/>
              <a:gd name="T1" fmla="*/ 164 h 266"/>
              <a:gd name="T2" fmla="*/ 167 w 177"/>
              <a:gd name="T3" fmla="*/ 265 h 266"/>
              <a:gd name="T4" fmla="*/ 175 w 177"/>
              <a:gd name="T5" fmla="*/ 199 h 266"/>
              <a:gd name="T6" fmla="*/ 93 w 177"/>
              <a:gd name="T7" fmla="*/ 132 h 266"/>
              <a:gd name="T8" fmla="*/ 76 w 177"/>
              <a:gd name="T9" fmla="*/ 27 h 266"/>
              <a:gd name="T10" fmla="*/ 15 w 177"/>
              <a:gd name="T11" fmla="*/ 0 h 266"/>
              <a:gd name="T12" fmla="*/ 36 w 177"/>
              <a:gd name="T13" fmla="*/ 164 h 266"/>
            </a:gdLst>
            <a:ahLst/>
            <a:cxnLst>
              <a:cxn ang="0">
                <a:pos x="T0" y="T1"/>
              </a:cxn>
              <a:cxn ang="0">
                <a:pos x="T2" y="T3"/>
              </a:cxn>
              <a:cxn ang="0">
                <a:pos x="T4" y="T5"/>
              </a:cxn>
              <a:cxn ang="0">
                <a:pos x="T6" y="T7"/>
              </a:cxn>
              <a:cxn ang="0">
                <a:pos x="T8" y="T9"/>
              </a:cxn>
              <a:cxn ang="0">
                <a:pos x="T10" y="T11"/>
              </a:cxn>
              <a:cxn ang="0">
                <a:pos x="T12" y="T13"/>
              </a:cxn>
            </a:cxnLst>
            <a:rect l="0" t="0" r="r" b="b"/>
            <a:pathLst>
              <a:path w="177" h="266">
                <a:moveTo>
                  <a:pt x="36" y="164"/>
                </a:moveTo>
                <a:cubicBezTo>
                  <a:pt x="66" y="216"/>
                  <a:pt x="114" y="251"/>
                  <a:pt x="167" y="265"/>
                </a:cubicBezTo>
                <a:cubicBezTo>
                  <a:pt x="173" y="243"/>
                  <a:pt x="176" y="221"/>
                  <a:pt x="175" y="199"/>
                </a:cubicBezTo>
                <a:cubicBezTo>
                  <a:pt x="141" y="187"/>
                  <a:pt x="111" y="163"/>
                  <a:pt x="93" y="132"/>
                </a:cubicBezTo>
                <a:cubicBezTo>
                  <a:pt x="75" y="100"/>
                  <a:pt x="69" y="63"/>
                  <a:pt x="76" y="27"/>
                </a:cubicBezTo>
                <a:cubicBezTo>
                  <a:pt x="57" y="15"/>
                  <a:pt x="36" y="6"/>
                  <a:pt x="15" y="0"/>
                </a:cubicBezTo>
                <a:cubicBezTo>
                  <a:pt x="0" y="54"/>
                  <a:pt x="7" y="113"/>
                  <a:pt x="36" y="164"/>
                </a:cubicBezTo>
              </a:path>
            </a:pathLst>
          </a:custGeom>
          <a:solidFill>
            <a:schemeClr val="accent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a:p>
        </p:txBody>
      </p:sp>
      <p:sp>
        <p:nvSpPr>
          <p:cNvPr id="15" name="Freeform 74">
            <a:extLst>
              <a:ext uri="{FF2B5EF4-FFF2-40B4-BE49-F238E27FC236}">
                <a16:creationId xmlns:a16="http://schemas.microsoft.com/office/drawing/2014/main" id="{0FFA210F-24E4-4D21-9E52-062CE00C17E8}"/>
              </a:ext>
            </a:extLst>
          </p:cNvPr>
          <p:cNvSpPr>
            <a:spLocks noChangeArrowheads="1"/>
          </p:cNvSpPr>
          <p:nvPr/>
        </p:nvSpPr>
        <p:spPr bwMode="auto">
          <a:xfrm>
            <a:off x="714963" y="4280365"/>
            <a:ext cx="5531556" cy="2577635"/>
          </a:xfrm>
          <a:custGeom>
            <a:avLst/>
            <a:gdLst>
              <a:gd name="T0" fmla="*/ 1237 w 1298"/>
              <a:gd name="T1" fmla="*/ 139 h 605"/>
              <a:gd name="T2" fmla="*/ 942 w 1298"/>
              <a:gd name="T3" fmla="*/ 60 h 605"/>
              <a:gd name="T4" fmla="*/ 0 w 1298"/>
              <a:gd name="T5" fmla="*/ 604 h 605"/>
              <a:gd name="T6" fmla="*/ 864 w 1298"/>
              <a:gd name="T7" fmla="*/ 604 h 605"/>
              <a:gd name="T8" fmla="*/ 1158 w 1298"/>
              <a:gd name="T9" fmla="*/ 434 h 605"/>
              <a:gd name="T10" fmla="*/ 1237 w 1298"/>
              <a:gd name="T11" fmla="*/ 139 h 605"/>
            </a:gdLst>
            <a:ahLst/>
            <a:cxnLst>
              <a:cxn ang="0">
                <a:pos x="T0" y="T1"/>
              </a:cxn>
              <a:cxn ang="0">
                <a:pos x="T2" y="T3"/>
              </a:cxn>
              <a:cxn ang="0">
                <a:pos x="T4" y="T5"/>
              </a:cxn>
              <a:cxn ang="0">
                <a:pos x="T6" y="T7"/>
              </a:cxn>
              <a:cxn ang="0">
                <a:pos x="T8" y="T9"/>
              </a:cxn>
              <a:cxn ang="0">
                <a:pos x="T10" y="T11"/>
              </a:cxn>
            </a:cxnLst>
            <a:rect l="0" t="0" r="r" b="b"/>
            <a:pathLst>
              <a:path w="1298" h="605">
                <a:moveTo>
                  <a:pt x="1237" y="139"/>
                </a:moveTo>
                <a:cubicBezTo>
                  <a:pt x="1177" y="36"/>
                  <a:pt x="1045" y="0"/>
                  <a:pt x="942" y="60"/>
                </a:cubicBezTo>
                <a:lnTo>
                  <a:pt x="0" y="604"/>
                </a:lnTo>
                <a:lnTo>
                  <a:pt x="864" y="604"/>
                </a:lnTo>
                <a:lnTo>
                  <a:pt x="1158" y="434"/>
                </a:lnTo>
                <a:cubicBezTo>
                  <a:pt x="1261" y="374"/>
                  <a:pt x="1297" y="242"/>
                  <a:pt x="1237" y="139"/>
                </a:cubicBezTo>
              </a:path>
            </a:pathLst>
          </a:custGeom>
          <a:solidFill>
            <a:schemeClr val="accent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6" name="Freeform 75">
            <a:extLst>
              <a:ext uri="{FF2B5EF4-FFF2-40B4-BE49-F238E27FC236}">
                <a16:creationId xmlns:a16="http://schemas.microsoft.com/office/drawing/2014/main" id="{3E1A5540-8089-4989-A345-C0649F6FACA8}"/>
              </a:ext>
            </a:extLst>
          </p:cNvPr>
          <p:cNvSpPr>
            <a:spLocks noChangeArrowheads="1"/>
          </p:cNvSpPr>
          <p:nvPr/>
        </p:nvSpPr>
        <p:spPr bwMode="auto">
          <a:xfrm>
            <a:off x="10065920" y="3236148"/>
            <a:ext cx="2126080" cy="2690512"/>
          </a:xfrm>
          <a:custGeom>
            <a:avLst/>
            <a:gdLst>
              <a:gd name="T0" fmla="*/ 15 w 499"/>
              <a:gd name="T1" fmla="*/ 352 h 632"/>
              <a:gd name="T2" fmla="*/ 36 w 499"/>
              <a:gd name="T3" fmla="*/ 516 h 632"/>
              <a:gd name="T4" fmla="*/ 167 w 499"/>
              <a:gd name="T5" fmla="*/ 617 h 632"/>
              <a:gd name="T6" fmla="*/ 331 w 499"/>
              <a:gd name="T7" fmla="*/ 595 h 632"/>
              <a:gd name="T8" fmla="*/ 498 w 499"/>
              <a:gd name="T9" fmla="*/ 499 h 632"/>
              <a:gd name="T10" fmla="*/ 498 w 499"/>
              <a:gd name="T11" fmla="*/ 0 h 632"/>
              <a:gd name="T12" fmla="*/ 115 w 499"/>
              <a:gd name="T13" fmla="*/ 221 h 632"/>
              <a:gd name="T14" fmla="*/ 15 w 499"/>
              <a:gd name="T15" fmla="*/ 352 h 6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9" h="632">
                <a:moveTo>
                  <a:pt x="15" y="352"/>
                </a:moveTo>
                <a:cubicBezTo>
                  <a:pt x="0" y="405"/>
                  <a:pt x="6" y="464"/>
                  <a:pt x="36" y="516"/>
                </a:cubicBezTo>
                <a:cubicBezTo>
                  <a:pt x="66" y="568"/>
                  <a:pt x="114" y="602"/>
                  <a:pt x="167" y="617"/>
                </a:cubicBezTo>
                <a:cubicBezTo>
                  <a:pt x="221" y="631"/>
                  <a:pt x="280" y="625"/>
                  <a:pt x="331" y="595"/>
                </a:cubicBezTo>
                <a:lnTo>
                  <a:pt x="498" y="499"/>
                </a:lnTo>
                <a:lnTo>
                  <a:pt x="498" y="0"/>
                </a:lnTo>
                <a:lnTo>
                  <a:pt x="115" y="221"/>
                </a:lnTo>
                <a:cubicBezTo>
                  <a:pt x="64" y="251"/>
                  <a:pt x="29" y="299"/>
                  <a:pt x="15" y="352"/>
                </a:cubicBezTo>
              </a:path>
            </a:pathLst>
          </a:custGeom>
          <a:solidFill>
            <a:schemeClr val="accent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7" name="Freeform 76">
            <a:extLst>
              <a:ext uri="{FF2B5EF4-FFF2-40B4-BE49-F238E27FC236}">
                <a16:creationId xmlns:a16="http://schemas.microsoft.com/office/drawing/2014/main" id="{8C16E441-DE46-4AD1-AC51-EA11737B68C6}"/>
              </a:ext>
            </a:extLst>
          </p:cNvPr>
          <p:cNvSpPr>
            <a:spLocks noChangeArrowheads="1"/>
          </p:cNvSpPr>
          <p:nvPr/>
        </p:nvSpPr>
        <p:spPr bwMode="auto">
          <a:xfrm>
            <a:off x="4477926" y="0"/>
            <a:ext cx="3988741" cy="1712142"/>
          </a:xfrm>
          <a:custGeom>
            <a:avLst/>
            <a:gdLst>
              <a:gd name="T0" fmla="*/ 50 w 934"/>
              <a:gd name="T1" fmla="*/ 260 h 400"/>
              <a:gd name="T2" fmla="*/ 345 w 934"/>
              <a:gd name="T3" fmla="*/ 339 h 400"/>
              <a:gd name="T4" fmla="*/ 933 w 934"/>
              <a:gd name="T5" fmla="*/ 0 h 400"/>
              <a:gd name="T6" fmla="*/ 84 w 934"/>
              <a:gd name="T7" fmla="*/ 0 h 400"/>
              <a:gd name="T8" fmla="*/ 50 w 934"/>
              <a:gd name="T9" fmla="*/ 260 h 400"/>
            </a:gdLst>
            <a:ahLst/>
            <a:cxnLst>
              <a:cxn ang="0">
                <a:pos x="T0" y="T1"/>
              </a:cxn>
              <a:cxn ang="0">
                <a:pos x="T2" y="T3"/>
              </a:cxn>
              <a:cxn ang="0">
                <a:pos x="T4" y="T5"/>
              </a:cxn>
              <a:cxn ang="0">
                <a:pos x="T6" y="T7"/>
              </a:cxn>
              <a:cxn ang="0">
                <a:pos x="T8" y="T9"/>
              </a:cxn>
            </a:cxnLst>
            <a:rect l="0" t="0" r="r" b="b"/>
            <a:pathLst>
              <a:path w="934" h="400">
                <a:moveTo>
                  <a:pt x="50" y="260"/>
                </a:moveTo>
                <a:cubicBezTo>
                  <a:pt x="110" y="363"/>
                  <a:pt x="242" y="399"/>
                  <a:pt x="345" y="339"/>
                </a:cubicBezTo>
                <a:lnTo>
                  <a:pt x="933" y="0"/>
                </a:lnTo>
                <a:lnTo>
                  <a:pt x="84" y="0"/>
                </a:lnTo>
                <a:cubicBezTo>
                  <a:pt x="17" y="67"/>
                  <a:pt x="0" y="174"/>
                  <a:pt x="50" y="260"/>
                </a:cubicBezTo>
              </a:path>
            </a:pathLst>
          </a:custGeom>
          <a:solidFill>
            <a:schemeClr val="accent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2" name="Title 1">
            <a:extLst>
              <a:ext uri="{FF2B5EF4-FFF2-40B4-BE49-F238E27FC236}">
                <a16:creationId xmlns:a16="http://schemas.microsoft.com/office/drawing/2014/main" id="{EC9DBBEB-CFD6-4E01-A45F-4CB0419CF96A}"/>
              </a:ext>
            </a:extLst>
          </p:cNvPr>
          <p:cNvSpPr>
            <a:spLocks noGrp="1"/>
          </p:cNvSpPr>
          <p:nvPr userDrawn="1">
            <p:ph type="title"/>
          </p:nvPr>
        </p:nvSpPr>
        <p:spPr>
          <a:xfrm>
            <a:off x="1343025" y="2083034"/>
            <a:ext cx="7200900" cy="1612666"/>
          </a:xfrm>
        </p:spPr>
        <p:txBody>
          <a:bodyPr vert="horz" lIns="0" tIns="0" rIns="0" bIns="0" rtlCol="0" anchor="t" anchorCtr="0">
            <a:normAutofit/>
          </a:bodyPr>
          <a:lstStyle>
            <a:lvl1pPr marL="0" indent="0">
              <a:buFont typeface="Arial" panose="020B0604020202020204" pitchFamily="34" charset="0"/>
              <a:buNone/>
              <a:defRPr lang="en-GB" sz="5400" dirty="0"/>
            </a:lvl1pPr>
          </a:lstStyle>
          <a:p>
            <a:pPr lvl="0"/>
            <a:r>
              <a:rPr lang="en-US"/>
              <a:t>Click to edit Master title style</a:t>
            </a:r>
            <a:endParaRPr lang="en-GB" dirty="0"/>
          </a:p>
        </p:txBody>
      </p:sp>
      <p:sp>
        <p:nvSpPr>
          <p:cNvPr id="3" name="Text Placeholder 2">
            <a:extLst>
              <a:ext uri="{FF2B5EF4-FFF2-40B4-BE49-F238E27FC236}">
                <a16:creationId xmlns:a16="http://schemas.microsoft.com/office/drawing/2014/main" id="{278E103B-4121-4BCA-89E5-49B0F4DAAC9B}"/>
              </a:ext>
            </a:extLst>
          </p:cNvPr>
          <p:cNvSpPr>
            <a:spLocks noGrp="1"/>
          </p:cNvSpPr>
          <p:nvPr userDrawn="1">
            <p:ph type="body" idx="1"/>
          </p:nvPr>
        </p:nvSpPr>
        <p:spPr>
          <a:xfrm>
            <a:off x="1343025" y="3066707"/>
            <a:ext cx="7200900" cy="1154381"/>
          </a:xfrm>
        </p:spPr>
        <p:txBody>
          <a:bodyPr vert="horz" lIns="0" tIns="0" rIns="0" bIns="0" rtlCol="0" anchor="t" anchorCtr="0">
            <a:normAutofit/>
          </a:bodyPr>
          <a:lstStyle>
            <a:lvl1pPr marL="0" indent="0">
              <a:spcBef>
                <a:spcPts val="0"/>
              </a:spcBef>
              <a:buNone/>
              <a:defRPr lang="en-US" sz="2800" smtClean="0">
                <a:solidFill>
                  <a:schemeClr val="accent2"/>
                </a:solidFill>
              </a:defRPr>
            </a:lvl1pPr>
          </a:lstStyle>
          <a:p>
            <a:pPr marL="228600" lvl="0" indent="-228600">
              <a:spcAft>
                <a:spcPts val="0"/>
              </a:spcAft>
            </a:pPr>
            <a:r>
              <a:rPr lang="en-US"/>
              <a:t>Click to edit Master text styles</a:t>
            </a:r>
          </a:p>
        </p:txBody>
      </p:sp>
    </p:spTree>
    <p:extLst>
      <p:ext uri="{BB962C8B-B14F-4D97-AF65-F5344CB8AC3E}">
        <p14:creationId xmlns:p14="http://schemas.microsoft.com/office/powerpoint/2010/main" val="959241178"/>
      </p:ext>
    </p:extLst>
  </p:cSld>
  <p:clrMapOvr>
    <a:masterClrMapping/>
  </p:clrMapOvr>
  <p:extLst>
    <p:ext uri="{DCECCB84-F9BA-43D5-87BE-67443E8EF086}">
      <p15:sldGuideLst xmlns:p15="http://schemas.microsoft.com/office/powerpoint/2012/main">
        <p15:guide id="1" pos="846" userDrawn="1">
          <p15:clr>
            <a:srgbClr val="FBAE40"/>
          </p15:clr>
        </p15:guide>
        <p15:guide id="2" pos="5382"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secHead" preserve="1">
  <p:cSld name="1_Section Header">
    <p:spTree>
      <p:nvGrpSpPr>
        <p:cNvPr id="1" name=""/>
        <p:cNvGrpSpPr/>
        <p:nvPr/>
      </p:nvGrpSpPr>
      <p:grpSpPr>
        <a:xfrm>
          <a:off x="0" y="0"/>
          <a:ext cx="0" cy="0"/>
          <a:chOff x="0" y="0"/>
          <a:chExt cx="0" cy="0"/>
        </a:xfrm>
      </p:grpSpPr>
      <p:sp>
        <p:nvSpPr>
          <p:cNvPr id="8" name="Freeform 67">
            <a:extLst>
              <a:ext uri="{FF2B5EF4-FFF2-40B4-BE49-F238E27FC236}">
                <a16:creationId xmlns:a16="http://schemas.microsoft.com/office/drawing/2014/main" id="{F6E627BD-49CF-47F3-90F5-8DE5C3B0C487}"/>
              </a:ext>
            </a:extLst>
          </p:cNvPr>
          <p:cNvSpPr>
            <a:spLocks noChangeArrowheads="1"/>
          </p:cNvSpPr>
          <p:nvPr/>
        </p:nvSpPr>
        <p:spPr bwMode="auto">
          <a:xfrm>
            <a:off x="0" y="2991549"/>
            <a:ext cx="921920" cy="1825043"/>
          </a:xfrm>
          <a:custGeom>
            <a:avLst/>
            <a:gdLst>
              <a:gd name="T0" fmla="*/ 155 w 215"/>
              <a:gd name="T1" fmla="*/ 105 h 427"/>
              <a:gd name="T2" fmla="*/ 0 w 215"/>
              <a:gd name="T3" fmla="*/ 0 h 427"/>
              <a:gd name="T4" fmla="*/ 0 w 215"/>
              <a:gd name="T5" fmla="*/ 66 h 427"/>
              <a:gd name="T6" fmla="*/ 98 w 215"/>
              <a:gd name="T7" fmla="*/ 137 h 427"/>
              <a:gd name="T8" fmla="*/ 43 w 215"/>
              <a:gd name="T9" fmla="*/ 343 h 427"/>
              <a:gd name="T10" fmla="*/ 0 w 215"/>
              <a:gd name="T11" fmla="*/ 359 h 427"/>
              <a:gd name="T12" fmla="*/ 0 w 215"/>
              <a:gd name="T13" fmla="*/ 426 h 427"/>
              <a:gd name="T14" fmla="*/ 76 w 215"/>
              <a:gd name="T15" fmla="*/ 400 h 427"/>
              <a:gd name="T16" fmla="*/ 155 w 215"/>
              <a:gd name="T17" fmla="*/ 105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5" h="427">
                <a:moveTo>
                  <a:pt x="155" y="105"/>
                </a:moveTo>
                <a:cubicBezTo>
                  <a:pt x="121" y="47"/>
                  <a:pt x="63" y="10"/>
                  <a:pt x="0" y="0"/>
                </a:cubicBezTo>
                <a:lnTo>
                  <a:pt x="0" y="66"/>
                </a:lnTo>
                <a:cubicBezTo>
                  <a:pt x="41" y="75"/>
                  <a:pt x="77" y="100"/>
                  <a:pt x="98" y="137"/>
                </a:cubicBezTo>
                <a:cubicBezTo>
                  <a:pt x="140" y="209"/>
                  <a:pt x="115" y="301"/>
                  <a:pt x="43" y="343"/>
                </a:cubicBezTo>
                <a:cubicBezTo>
                  <a:pt x="30" y="351"/>
                  <a:pt x="15" y="356"/>
                  <a:pt x="0" y="359"/>
                </a:cubicBezTo>
                <a:lnTo>
                  <a:pt x="0" y="426"/>
                </a:lnTo>
                <a:cubicBezTo>
                  <a:pt x="26" y="422"/>
                  <a:pt x="52" y="413"/>
                  <a:pt x="76" y="400"/>
                </a:cubicBezTo>
                <a:cubicBezTo>
                  <a:pt x="179" y="340"/>
                  <a:pt x="214" y="208"/>
                  <a:pt x="155" y="105"/>
                </a:cubicBezTo>
              </a:path>
            </a:pathLst>
          </a:custGeom>
          <a:solidFill>
            <a:schemeClr val="accent4">
              <a:alpha val="40000"/>
            </a:schemeClr>
          </a:solidFill>
          <a:ln>
            <a:noFill/>
          </a:ln>
          <a:effectLst/>
        </p:spPr>
        <p:txBody>
          <a:bodyPr wrap="none" anchor="ctr"/>
          <a:lstStyle/>
          <a:p>
            <a:endParaRPr dirty="0"/>
          </a:p>
        </p:txBody>
      </p:sp>
      <p:sp>
        <p:nvSpPr>
          <p:cNvPr id="9" name="Freeform 68">
            <a:extLst>
              <a:ext uri="{FF2B5EF4-FFF2-40B4-BE49-F238E27FC236}">
                <a16:creationId xmlns:a16="http://schemas.microsoft.com/office/drawing/2014/main" id="{73125E73-2849-4610-906B-E198401E9F42}"/>
              </a:ext>
            </a:extLst>
          </p:cNvPr>
          <p:cNvSpPr>
            <a:spLocks noChangeArrowheads="1"/>
          </p:cNvSpPr>
          <p:nvPr/>
        </p:nvSpPr>
        <p:spPr bwMode="auto">
          <a:xfrm>
            <a:off x="8851840" y="4675650"/>
            <a:ext cx="1937932" cy="2013191"/>
          </a:xfrm>
          <a:custGeom>
            <a:avLst/>
            <a:gdLst>
              <a:gd name="T0" fmla="*/ 324 w 456"/>
              <a:gd name="T1" fmla="*/ 178 h 470"/>
              <a:gd name="T2" fmla="*/ 303 w 456"/>
              <a:gd name="T3" fmla="*/ 14 h 470"/>
              <a:gd name="T4" fmla="*/ 139 w 456"/>
              <a:gd name="T5" fmla="*/ 36 h 470"/>
              <a:gd name="T6" fmla="*/ 60 w 456"/>
              <a:gd name="T7" fmla="*/ 331 h 470"/>
              <a:gd name="T8" fmla="*/ 355 w 456"/>
              <a:gd name="T9" fmla="*/ 410 h 470"/>
              <a:gd name="T10" fmla="*/ 455 w 456"/>
              <a:gd name="T11" fmla="*/ 279 h 470"/>
              <a:gd name="T12" fmla="*/ 324 w 456"/>
              <a:gd name="T13" fmla="*/ 178 h 470"/>
            </a:gdLst>
            <a:ahLst/>
            <a:cxnLst>
              <a:cxn ang="0">
                <a:pos x="T0" y="T1"/>
              </a:cxn>
              <a:cxn ang="0">
                <a:pos x="T2" y="T3"/>
              </a:cxn>
              <a:cxn ang="0">
                <a:pos x="T4" y="T5"/>
              </a:cxn>
              <a:cxn ang="0">
                <a:pos x="T6" y="T7"/>
              </a:cxn>
              <a:cxn ang="0">
                <a:pos x="T8" y="T9"/>
              </a:cxn>
              <a:cxn ang="0">
                <a:pos x="T10" y="T11"/>
              </a:cxn>
              <a:cxn ang="0">
                <a:pos x="T12" y="T13"/>
              </a:cxn>
            </a:cxnLst>
            <a:rect l="0" t="0" r="r" b="b"/>
            <a:pathLst>
              <a:path w="456" h="470">
                <a:moveTo>
                  <a:pt x="324" y="178"/>
                </a:moveTo>
                <a:cubicBezTo>
                  <a:pt x="294" y="126"/>
                  <a:pt x="288" y="67"/>
                  <a:pt x="303" y="14"/>
                </a:cubicBezTo>
                <a:cubicBezTo>
                  <a:pt x="249" y="0"/>
                  <a:pt x="190" y="6"/>
                  <a:pt x="139" y="36"/>
                </a:cubicBezTo>
                <a:cubicBezTo>
                  <a:pt x="36" y="95"/>
                  <a:pt x="0" y="227"/>
                  <a:pt x="60" y="331"/>
                </a:cubicBezTo>
                <a:cubicBezTo>
                  <a:pt x="119" y="434"/>
                  <a:pt x="252" y="469"/>
                  <a:pt x="355" y="410"/>
                </a:cubicBezTo>
                <a:cubicBezTo>
                  <a:pt x="406" y="380"/>
                  <a:pt x="441" y="332"/>
                  <a:pt x="455" y="279"/>
                </a:cubicBezTo>
                <a:cubicBezTo>
                  <a:pt x="402" y="264"/>
                  <a:pt x="354" y="230"/>
                  <a:pt x="324" y="178"/>
                </a:cubicBezTo>
              </a:path>
            </a:pathLst>
          </a:custGeom>
          <a:solidFill>
            <a:schemeClr val="accent1">
              <a:alpha val="40000"/>
            </a:schemeClr>
          </a:solidFill>
          <a:ln>
            <a:noFill/>
          </a:ln>
          <a:effectLst/>
        </p:spPr>
        <p:txBody>
          <a:bodyPr wrap="none" anchor="ctr"/>
          <a:lstStyle/>
          <a:p>
            <a:endParaRPr dirty="0"/>
          </a:p>
        </p:txBody>
      </p:sp>
      <p:sp>
        <p:nvSpPr>
          <p:cNvPr id="10" name="Freeform 69">
            <a:extLst>
              <a:ext uri="{FF2B5EF4-FFF2-40B4-BE49-F238E27FC236}">
                <a16:creationId xmlns:a16="http://schemas.microsoft.com/office/drawing/2014/main" id="{085EC0CD-5537-4033-95BA-5B7BE295665E}"/>
              </a:ext>
            </a:extLst>
          </p:cNvPr>
          <p:cNvSpPr>
            <a:spLocks noChangeArrowheads="1"/>
          </p:cNvSpPr>
          <p:nvPr/>
        </p:nvSpPr>
        <p:spPr bwMode="auto">
          <a:xfrm>
            <a:off x="10169576" y="1947508"/>
            <a:ext cx="451556" cy="733772"/>
          </a:xfrm>
          <a:custGeom>
            <a:avLst/>
            <a:gdLst>
              <a:gd name="T0" fmla="*/ 7 w 107"/>
              <a:gd name="T1" fmla="*/ 0 h 173"/>
              <a:gd name="T2" fmla="*/ 24 w 107"/>
              <a:gd name="T3" fmla="*/ 105 h 173"/>
              <a:gd name="T4" fmla="*/ 106 w 107"/>
              <a:gd name="T5" fmla="*/ 172 h 173"/>
              <a:gd name="T6" fmla="*/ 77 w 107"/>
              <a:gd name="T7" fmla="*/ 74 h 173"/>
              <a:gd name="T8" fmla="*/ 7 w 107"/>
              <a:gd name="T9" fmla="*/ 0 h 173"/>
            </a:gdLst>
            <a:ahLst/>
            <a:cxnLst>
              <a:cxn ang="0">
                <a:pos x="T0" y="T1"/>
              </a:cxn>
              <a:cxn ang="0">
                <a:pos x="T2" y="T3"/>
              </a:cxn>
              <a:cxn ang="0">
                <a:pos x="T4" y="T5"/>
              </a:cxn>
              <a:cxn ang="0">
                <a:pos x="T6" y="T7"/>
              </a:cxn>
              <a:cxn ang="0">
                <a:pos x="T8" y="T9"/>
              </a:cxn>
            </a:cxnLst>
            <a:rect l="0" t="0" r="r" b="b"/>
            <a:pathLst>
              <a:path w="107" h="173">
                <a:moveTo>
                  <a:pt x="7" y="0"/>
                </a:moveTo>
                <a:cubicBezTo>
                  <a:pt x="0" y="36"/>
                  <a:pt x="6" y="73"/>
                  <a:pt x="24" y="105"/>
                </a:cubicBezTo>
                <a:cubicBezTo>
                  <a:pt x="42" y="136"/>
                  <a:pt x="72" y="160"/>
                  <a:pt x="106" y="172"/>
                </a:cubicBezTo>
                <a:cubicBezTo>
                  <a:pt x="104" y="138"/>
                  <a:pt x="95" y="105"/>
                  <a:pt x="77" y="74"/>
                </a:cubicBezTo>
                <a:cubicBezTo>
                  <a:pt x="59" y="43"/>
                  <a:pt x="35" y="18"/>
                  <a:pt x="7" y="0"/>
                </a:cubicBezTo>
              </a:path>
            </a:pathLst>
          </a:custGeom>
          <a:solidFill>
            <a:schemeClr val="accent3">
              <a:alpha val="40000"/>
            </a:schemeClr>
          </a:solidFill>
          <a:ln>
            <a:noFill/>
          </a:ln>
          <a:effectLst/>
        </p:spPr>
        <p:txBody>
          <a:bodyPr wrap="none" anchor="ctr"/>
          <a:lstStyle/>
          <a:p>
            <a:endParaRPr dirty="0"/>
          </a:p>
        </p:txBody>
      </p:sp>
      <p:sp>
        <p:nvSpPr>
          <p:cNvPr id="11" name="Freeform 70">
            <a:extLst>
              <a:ext uri="{FF2B5EF4-FFF2-40B4-BE49-F238E27FC236}">
                <a16:creationId xmlns:a16="http://schemas.microsoft.com/office/drawing/2014/main" id="{1F65C563-1A5F-4974-AE3F-43C15F4DF605}"/>
              </a:ext>
            </a:extLst>
          </p:cNvPr>
          <p:cNvSpPr>
            <a:spLocks noChangeArrowheads="1"/>
          </p:cNvSpPr>
          <p:nvPr/>
        </p:nvSpPr>
        <p:spPr bwMode="auto">
          <a:xfrm>
            <a:off x="8670862" y="1752545"/>
            <a:ext cx="1937920" cy="2013179"/>
          </a:xfrm>
          <a:custGeom>
            <a:avLst/>
            <a:gdLst>
              <a:gd name="T0" fmla="*/ 355 w 456"/>
              <a:gd name="T1" fmla="*/ 409 h 470"/>
              <a:gd name="T2" fmla="*/ 455 w 456"/>
              <a:gd name="T3" fmla="*/ 279 h 470"/>
              <a:gd name="T4" fmla="*/ 324 w 456"/>
              <a:gd name="T5" fmla="*/ 178 h 470"/>
              <a:gd name="T6" fmla="*/ 303 w 456"/>
              <a:gd name="T7" fmla="*/ 14 h 470"/>
              <a:gd name="T8" fmla="*/ 139 w 456"/>
              <a:gd name="T9" fmla="*/ 36 h 470"/>
              <a:gd name="T10" fmla="*/ 60 w 456"/>
              <a:gd name="T11" fmla="*/ 331 h 470"/>
              <a:gd name="T12" fmla="*/ 355 w 456"/>
              <a:gd name="T13" fmla="*/ 409 h 470"/>
            </a:gdLst>
            <a:ahLst/>
            <a:cxnLst>
              <a:cxn ang="0">
                <a:pos x="T0" y="T1"/>
              </a:cxn>
              <a:cxn ang="0">
                <a:pos x="T2" y="T3"/>
              </a:cxn>
              <a:cxn ang="0">
                <a:pos x="T4" y="T5"/>
              </a:cxn>
              <a:cxn ang="0">
                <a:pos x="T6" y="T7"/>
              </a:cxn>
              <a:cxn ang="0">
                <a:pos x="T8" y="T9"/>
              </a:cxn>
              <a:cxn ang="0">
                <a:pos x="T10" y="T11"/>
              </a:cxn>
              <a:cxn ang="0">
                <a:pos x="T12" y="T13"/>
              </a:cxn>
            </a:cxnLst>
            <a:rect l="0" t="0" r="r" b="b"/>
            <a:pathLst>
              <a:path w="456" h="470">
                <a:moveTo>
                  <a:pt x="355" y="409"/>
                </a:moveTo>
                <a:cubicBezTo>
                  <a:pt x="407" y="379"/>
                  <a:pt x="441" y="332"/>
                  <a:pt x="455" y="279"/>
                </a:cubicBezTo>
                <a:cubicBezTo>
                  <a:pt x="402" y="265"/>
                  <a:pt x="353" y="229"/>
                  <a:pt x="324" y="178"/>
                </a:cubicBezTo>
                <a:cubicBezTo>
                  <a:pt x="294" y="126"/>
                  <a:pt x="288" y="68"/>
                  <a:pt x="303" y="14"/>
                </a:cubicBezTo>
                <a:cubicBezTo>
                  <a:pt x="249" y="0"/>
                  <a:pt x="191" y="6"/>
                  <a:pt x="139" y="36"/>
                </a:cubicBezTo>
                <a:cubicBezTo>
                  <a:pt x="36" y="96"/>
                  <a:pt x="0" y="228"/>
                  <a:pt x="60" y="331"/>
                </a:cubicBezTo>
                <a:cubicBezTo>
                  <a:pt x="120" y="433"/>
                  <a:pt x="252" y="469"/>
                  <a:pt x="355" y="409"/>
                </a:cubicBezTo>
              </a:path>
            </a:pathLst>
          </a:custGeom>
          <a:solidFill>
            <a:schemeClr val="accent3">
              <a:alpha val="40000"/>
            </a:schemeClr>
          </a:solidFill>
          <a:ln>
            <a:noFill/>
          </a:ln>
          <a:effectLst/>
        </p:spPr>
        <p:txBody>
          <a:bodyPr wrap="none" anchor="ctr"/>
          <a:lstStyle/>
          <a:p>
            <a:endParaRPr/>
          </a:p>
        </p:txBody>
      </p:sp>
      <p:sp>
        <p:nvSpPr>
          <p:cNvPr id="12" name="Freeform 71">
            <a:extLst>
              <a:ext uri="{FF2B5EF4-FFF2-40B4-BE49-F238E27FC236}">
                <a16:creationId xmlns:a16="http://schemas.microsoft.com/office/drawing/2014/main" id="{E52E6DC7-3D71-4068-8E4B-4198314DFAEA}"/>
              </a:ext>
            </a:extLst>
          </p:cNvPr>
          <p:cNvSpPr>
            <a:spLocks noChangeArrowheads="1"/>
          </p:cNvSpPr>
          <p:nvPr/>
        </p:nvSpPr>
        <p:spPr bwMode="auto">
          <a:xfrm>
            <a:off x="9938039" y="1147698"/>
            <a:ext cx="1937932" cy="1843852"/>
          </a:xfrm>
          <a:custGeom>
            <a:avLst/>
            <a:gdLst>
              <a:gd name="T0" fmla="*/ 63 w 456"/>
              <a:gd name="T1" fmla="*/ 177 h 433"/>
              <a:gd name="T2" fmla="*/ 133 w 456"/>
              <a:gd name="T3" fmla="*/ 86 h 433"/>
              <a:gd name="T4" fmla="*/ 208 w 456"/>
              <a:gd name="T5" fmla="*/ 66 h 433"/>
              <a:gd name="T6" fmla="*/ 208 w 456"/>
              <a:gd name="T7" fmla="*/ 66 h 433"/>
              <a:gd name="T8" fmla="*/ 339 w 456"/>
              <a:gd name="T9" fmla="*/ 141 h 433"/>
              <a:gd name="T10" fmla="*/ 284 w 456"/>
              <a:gd name="T11" fmla="*/ 347 h 433"/>
              <a:gd name="T12" fmla="*/ 209 w 456"/>
              <a:gd name="T13" fmla="*/ 367 h 433"/>
              <a:gd name="T14" fmla="*/ 160 w 456"/>
              <a:gd name="T15" fmla="*/ 359 h 433"/>
              <a:gd name="T16" fmla="*/ 152 w 456"/>
              <a:gd name="T17" fmla="*/ 425 h 433"/>
              <a:gd name="T18" fmla="*/ 209 w 456"/>
              <a:gd name="T19" fmla="*/ 432 h 433"/>
              <a:gd name="T20" fmla="*/ 316 w 456"/>
              <a:gd name="T21" fmla="*/ 403 h 433"/>
              <a:gd name="T22" fmla="*/ 395 w 456"/>
              <a:gd name="T23" fmla="*/ 108 h 433"/>
              <a:gd name="T24" fmla="*/ 208 w 456"/>
              <a:gd name="T25" fmla="*/ 0 h 433"/>
              <a:gd name="T26" fmla="*/ 100 w 456"/>
              <a:gd name="T27" fmla="*/ 29 h 433"/>
              <a:gd name="T28" fmla="*/ 0 w 456"/>
              <a:gd name="T29" fmla="*/ 160 h 433"/>
              <a:gd name="T30" fmla="*/ 61 w 456"/>
              <a:gd name="T31" fmla="*/ 187 h 433"/>
              <a:gd name="T32" fmla="*/ 63 w 456"/>
              <a:gd name="T33" fmla="*/ 177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6" h="433">
                <a:moveTo>
                  <a:pt x="63" y="177"/>
                </a:moveTo>
                <a:cubicBezTo>
                  <a:pt x="73" y="139"/>
                  <a:pt x="98" y="106"/>
                  <a:pt x="133" y="86"/>
                </a:cubicBezTo>
                <a:cubicBezTo>
                  <a:pt x="156" y="73"/>
                  <a:pt x="182" y="66"/>
                  <a:pt x="208" y="66"/>
                </a:cubicBezTo>
                <a:lnTo>
                  <a:pt x="208" y="66"/>
                </a:lnTo>
                <a:cubicBezTo>
                  <a:pt x="262" y="66"/>
                  <a:pt x="312" y="95"/>
                  <a:pt x="339" y="141"/>
                </a:cubicBezTo>
                <a:cubicBezTo>
                  <a:pt x="380" y="213"/>
                  <a:pt x="356" y="305"/>
                  <a:pt x="284" y="347"/>
                </a:cubicBezTo>
                <a:cubicBezTo>
                  <a:pt x="261" y="360"/>
                  <a:pt x="235" y="367"/>
                  <a:pt x="209" y="367"/>
                </a:cubicBezTo>
                <a:cubicBezTo>
                  <a:pt x="192" y="367"/>
                  <a:pt x="175" y="364"/>
                  <a:pt x="160" y="359"/>
                </a:cubicBezTo>
                <a:cubicBezTo>
                  <a:pt x="161" y="381"/>
                  <a:pt x="158" y="403"/>
                  <a:pt x="152" y="425"/>
                </a:cubicBezTo>
                <a:cubicBezTo>
                  <a:pt x="171" y="430"/>
                  <a:pt x="190" y="432"/>
                  <a:pt x="209" y="432"/>
                </a:cubicBezTo>
                <a:cubicBezTo>
                  <a:pt x="245" y="432"/>
                  <a:pt x="282" y="423"/>
                  <a:pt x="316" y="403"/>
                </a:cubicBezTo>
                <a:cubicBezTo>
                  <a:pt x="420" y="344"/>
                  <a:pt x="455" y="212"/>
                  <a:pt x="395" y="108"/>
                </a:cubicBezTo>
                <a:cubicBezTo>
                  <a:pt x="355" y="39"/>
                  <a:pt x="283" y="0"/>
                  <a:pt x="208" y="0"/>
                </a:cubicBezTo>
                <a:cubicBezTo>
                  <a:pt x="172" y="0"/>
                  <a:pt x="134" y="10"/>
                  <a:pt x="100" y="29"/>
                </a:cubicBezTo>
                <a:cubicBezTo>
                  <a:pt x="49" y="59"/>
                  <a:pt x="14" y="107"/>
                  <a:pt x="0" y="160"/>
                </a:cubicBezTo>
                <a:cubicBezTo>
                  <a:pt x="21" y="166"/>
                  <a:pt x="42" y="175"/>
                  <a:pt x="61" y="187"/>
                </a:cubicBezTo>
                <a:cubicBezTo>
                  <a:pt x="61" y="184"/>
                  <a:pt x="62" y="181"/>
                  <a:pt x="63" y="177"/>
                </a:cubicBezTo>
              </a:path>
            </a:pathLst>
          </a:custGeom>
          <a:solidFill>
            <a:schemeClr val="accent3"/>
          </a:solidFill>
          <a:ln>
            <a:noFill/>
          </a:ln>
          <a:effectLst/>
        </p:spPr>
        <p:txBody>
          <a:bodyPr wrap="none" anchor="ctr"/>
          <a:lstStyle/>
          <a:p>
            <a:endParaRPr dirty="0"/>
          </a:p>
        </p:txBody>
      </p:sp>
      <p:sp>
        <p:nvSpPr>
          <p:cNvPr id="13" name="Freeform 72">
            <a:extLst>
              <a:ext uri="{FF2B5EF4-FFF2-40B4-BE49-F238E27FC236}">
                <a16:creationId xmlns:a16="http://schemas.microsoft.com/office/drawing/2014/main" id="{B6315EE1-5FAA-4D29-AA3E-9E77D9BD668B}"/>
              </a:ext>
            </a:extLst>
          </p:cNvPr>
          <p:cNvSpPr>
            <a:spLocks noChangeArrowheads="1"/>
          </p:cNvSpPr>
          <p:nvPr/>
        </p:nvSpPr>
        <p:spPr bwMode="auto">
          <a:xfrm>
            <a:off x="9877772" y="1825031"/>
            <a:ext cx="752593" cy="1128889"/>
          </a:xfrm>
          <a:custGeom>
            <a:avLst/>
            <a:gdLst>
              <a:gd name="T0" fmla="*/ 36 w 177"/>
              <a:gd name="T1" fmla="*/ 164 h 266"/>
              <a:gd name="T2" fmla="*/ 167 w 177"/>
              <a:gd name="T3" fmla="*/ 265 h 266"/>
              <a:gd name="T4" fmla="*/ 175 w 177"/>
              <a:gd name="T5" fmla="*/ 199 h 266"/>
              <a:gd name="T6" fmla="*/ 93 w 177"/>
              <a:gd name="T7" fmla="*/ 132 h 266"/>
              <a:gd name="T8" fmla="*/ 76 w 177"/>
              <a:gd name="T9" fmla="*/ 27 h 266"/>
              <a:gd name="T10" fmla="*/ 15 w 177"/>
              <a:gd name="T11" fmla="*/ 0 h 266"/>
              <a:gd name="T12" fmla="*/ 36 w 177"/>
              <a:gd name="T13" fmla="*/ 164 h 266"/>
            </a:gdLst>
            <a:ahLst/>
            <a:cxnLst>
              <a:cxn ang="0">
                <a:pos x="T0" y="T1"/>
              </a:cxn>
              <a:cxn ang="0">
                <a:pos x="T2" y="T3"/>
              </a:cxn>
              <a:cxn ang="0">
                <a:pos x="T4" y="T5"/>
              </a:cxn>
              <a:cxn ang="0">
                <a:pos x="T6" y="T7"/>
              </a:cxn>
              <a:cxn ang="0">
                <a:pos x="T8" y="T9"/>
              </a:cxn>
              <a:cxn ang="0">
                <a:pos x="T10" y="T11"/>
              </a:cxn>
              <a:cxn ang="0">
                <a:pos x="T12" y="T13"/>
              </a:cxn>
            </a:cxnLst>
            <a:rect l="0" t="0" r="r" b="b"/>
            <a:pathLst>
              <a:path w="177" h="266">
                <a:moveTo>
                  <a:pt x="36" y="164"/>
                </a:moveTo>
                <a:cubicBezTo>
                  <a:pt x="66" y="216"/>
                  <a:pt x="114" y="251"/>
                  <a:pt x="167" y="265"/>
                </a:cubicBezTo>
                <a:cubicBezTo>
                  <a:pt x="173" y="243"/>
                  <a:pt x="176" y="221"/>
                  <a:pt x="175" y="199"/>
                </a:cubicBezTo>
                <a:cubicBezTo>
                  <a:pt x="141" y="187"/>
                  <a:pt x="111" y="163"/>
                  <a:pt x="93" y="132"/>
                </a:cubicBezTo>
                <a:cubicBezTo>
                  <a:pt x="75" y="100"/>
                  <a:pt x="69" y="63"/>
                  <a:pt x="76" y="27"/>
                </a:cubicBezTo>
                <a:cubicBezTo>
                  <a:pt x="57" y="15"/>
                  <a:pt x="36" y="6"/>
                  <a:pt x="15" y="0"/>
                </a:cubicBezTo>
                <a:cubicBezTo>
                  <a:pt x="0" y="54"/>
                  <a:pt x="7" y="113"/>
                  <a:pt x="36" y="164"/>
                </a:cubicBezTo>
              </a:path>
            </a:pathLst>
          </a:custGeom>
          <a:solidFill>
            <a:srgbClr val="0099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a:p>
        </p:txBody>
      </p:sp>
      <p:sp>
        <p:nvSpPr>
          <p:cNvPr id="14" name="Freeform 73">
            <a:extLst>
              <a:ext uri="{FF2B5EF4-FFF2-40B4-BE49-F238E27FC236}">
                <a16:creationId xmlns:a16="http://schemas.microsoft.com/office/drawing/2014/main" id="{1EC5BEE1-0724-4108-9E09-B51210C489C0}"/>
              </a:ext>
            </a:extLst>
          </p:cNvPr>
          <p:cNvSpPr>
            <a:spLocks noChangeArrowheads="1"/>
          </p:cNvSpPr>
          <p:nvPr/>
        </p:nvSpPr>
        <p:spPr bwMode="auto">
          <a:xfrm>
            <a:off x="9877772" y="1825031"/>
            <a:ext cx="752593" cy="1128889"/>
          </a:xfrm>
          <a:custGeom>
            <a:avLst/>
            <a:gdLst>
              <a:gd name="T0" fmla="*/ 36 w 177"/>
              <a:gd name="T1" fmla="*/ 164 h 266"/>
              <a:gd name="T2" fmla="*/ 167 w 177"/>
              <a:gd name="T3" fmla="*/ 265 h 266"/>
              <a:gd name="T4" fmla="*/ 175 w 177"/>
              <a:gd name="T5" fmla="*/ 199 h 266"/>
              <a:gd name="T6" fmla="*/ 93 w 177"/>
              <a:gd name="T7" fmla="*/ 132 h 266"/>
              <a:gd name="T8" fmla="*/ 76 w 177"/>
              <a:gd name="T9" fmla="*/ 27 h 266"/>
              <a:gd name="T10" fmla="*/ 15 w 177"/>
              <a:gd name="T11" fmla="*/ 0 h 266"/>
              <a:gd name="T12" fmla="*/ 36 w 177"/>
              <a:gd name="T13" fmla="*/ 164 h 266"/>
            </a:gdLst>
            <a:ahLst/>
            <a:cxnLst>
              <a:cxn ang="0">
                <a:pos x="T0" y="T1"/>
              </a:cxn>
              <a:cxn ang="0">
                <a:pos x="T2" y="T3"/>
              </a:cxn>
              <a:cxn ang="0">
                <a:pos x="T4" y="T5"/>
              </a:cxn>
              <a:cxn ang="0">
                <a:pos x="T6" y="T7"/>
              </a:cxn>
              <a:cxn ang="0">
                <a:pos x="T8" y="T9"/>
              </a:cxn>
              <a:cxn ang="0">
                <a:pos x="T10" y="T11"/>
              </a:cxn>
              <a:cxn ang="0">
                <a:pos x="T12" y="T13"/>
              </a:cxn>
            </a:cxnLst>
            <a:rect l="0" t="0" r="r" b="b"/>
            <a:pathLst>
              <a:path w="177" h="266">
                <a:moveTo>
                  <a:pt x="36" y="164"/>
                </a:moveTo>
                <a:cubicBezTo>
                  <a:pt x="66" y="216"/>
                  <a:pt x="114" y="251"/>
                  <a:pt x="167" y="265"/>
                </a:cubicBezTo>
                <a:cubicBezTo>
                  <a:pt x="173" y="243"/>
                  <a:pt x="176" y="221"/>
                  <a:pt x="175" y="199"/>
                </a:cubicBezTo>
                <a:cubicBezTo>
                  <a:pt x="141" y="187"/>
                  <a:pt x="111" y="163"/>
                  <a:pt x="93" y="132"/>
                </a:cubicBezTo>
                <a:cubicBezTo>
                  <a:pt x="75" y="100"/>
                  <a:pt x="69" y="63"/>
                  <a:pt x="76" y="27"/>
                </a:cubicBezTo>
                <a:cubicBezTo>
                  <a:pt x="57" y="15"/>
                  <a:pt x="36" y="6"/>
                  <a:pt x="15" y="0"/>
                </a:cubicBezTo>
                <a:cubicBezTo>
                  <a:pt x="0" y="54"/>
                  <a:pt x="7" y="113"/>
                  <a:pt x="36" y="164"/>
                </a:cubicBezTo>
              </a:path>
            </a:pathLst>
          </a:custGeom>
          <a:solidFill>
            <a:schemeClr val="accent3"/>
          </a:solidFill>
          <a:ln>
            <a:noFill/>
          </a:ln>
          <a:effectLst/>
        </p:spPr>
        <p:txBody>
          <a:bodyPr wrap="none" anchor="ctr"/>
          <a:lstStyle/>
          <a:p>
            <a:endParaRPr/>
          </a:p>
        </p:txBody>
      </p:sp>
      <p:sp>
        <p:nvSpPr>
          <p:cNvPr id="15" name="Freeform 74">
            <a:extLst>
              <a:ext uri="{FF2B5EF4-FFF2-40B4-BE49-F238E27FC236}">
                <a16:creationId xmlns:a16="http://schemas.microsoft.com/office/drawing/2014/main" id="{0FFA210F-24E4-4D21-9E52-062CE00C17E8}"/>
              </a:ext>
            </a:extLst>
          </p:cNvPr>
          <p:cNvSpPr>
            <a:spLocks noChangeArrowheads="1"/>
          </p:cNvSpPr>
          <p:nvPr/>
        </p:nvSpPr>
        <p:spPr bwMode="auto">
          <a:xfrm>
            <a:off x="714963" y="4280365"/>
            <a:ext cx="5531556" cy="2577635"/>
          </a:xfrm>
          <a:custGeom>
            <a:avLst/>
            <a:gdLst>
              <a:gd name="T0" fmla="*/ 1237 w 1298"/>
              <a:gd name="T1" fmla="*/ 139 h 605"/>
              <a:gd name="T2" fmla="*/ 942 w 1298"/>
              <a:gd name="T3" fmla="*/ 60 h 605"/>
              <a:gd name="T4" fmla="*/ 0 w 1298"/>
              <a:gd name="T5" fmla="*/ 604 h 605"/>
              <a:gd name="T6" fmla="*/ 864 w 1298"/>
              <a:gd name="T7" fmla="*/ 604 h 605"/>
              <a:gd name="T8" fmla="*/ 1158 w 1298"/>
              <a:gd name="T9" fmla="*/ 434 h 605"/>
              <a:gd name="T10" fmla="*/ 1237 w 1298"/>
              <a:gd name="T11" fmla="*/ 139 h 605"/>
            </a:gdLst>
            <a:ahLst/>
            <a:cxnLst>
              <a:cxn ang="0">
                <a:pos x="T0" y="T1"/>
              </a:cxn>
              <a:cxn ang="0">
                <a:pos x="T2" y="T3"/>
              </a:cxn>
              <a:cxn ang="0">
                <a:pos x="T4" y="T5"/>
              </a:cxn>
              <a:cxn ang="0">
                <a:pos x="T6" y="T7"/>
              </a:cxn>
              <a:cxn ang="0">
                <a:pos x="T8" y="T9"/>
              </a:cxn>
              <a:cxn ang="0">
                <a:pos x="T10" y="T11"/>
              </a:cxn>
            </a:cxnLst>
            <a:rect l="0" t="0" r="r" b="b"/>
            <a:pathLst>
              <a:path w="1298" h="605">
                <a:moveTo>
                  <a:pt x="1237" y="139"/>
                </a:moveTo>
                <a:cubicBezTo>
                  <a:pt x="1177" y="36"/>
                  <a:pt x="1045" y="0"/>
                  <a:pt x="942" y="60"/>
                </a:cubicBezTo>
                <a:lnTo>
                  <a:pt x="0" y="604"/>
                </a:lnTo>
                <a:lnTo>
                  <a:pt x="864" y="604"/>
                </a:lnTo>
                <a:lnTo>
                  <a:pt x="1158" y="434"/>
                </a:lnTo>
                <a:cubicBezTo>
                  <a:pt x="1261" y="374"/>
                  <a:pt x="1297" y="242"/>
                  <a:pt x="1237" y="139"/>
                </a:cubicBezTo>
              </a:path>
            </a:pathLst>
          </a:custGeom>
          <a:solidFill>
            <a:schemeClr val="accent3"/>
          </a:solidFill>
          <a:ln>
            <a:noFill/>
          </a:ln>
          <a:effectLst/>
        </p:spPr>
        <p:txBody>
          <a:bodyPr wrap="none" anchor="ctr"/>
          <a:lstStyle/>
          <a:p>
            <a:endParaRPr dirty="0"/>
          </a:p>
        </p:txBody>
      </p:sp>
      <p:sp>
        <p:nvSpPr>
          <p:cNvPr id="16" name="Freeform 75">
            <a:extLst>
              <a:ext uri="{FF2B5EF4-FFF2-40B4-BE49-F238E27FC236}">
                <a16:creationId xmlns:a16="http://schemas.microsoft.com/office/drawing/2014/main" id="{3E1A5540-8089-4989-A345-C0649F6FACA8}"/>
              </a:ext>
            </a:extLst>
          </p:cNvPr>
          <p:cNvSpPr>
            <a:spLocks noChangeArrowheads="1"/>
          </p:cNvSpPr>
          <p:nvPr/>
        </p:nvSpPr>
        <p:spPr bwMode="auto">
          <a:xfrm>
            <a:off x="10065920" y="3236148"/>
            <a:ext cx="2126080" cy="2690512"/>
          </a:xfrm>
          <a:custGeom>
            <a:avLst/>
            <a:gdLst>
              <a:gd name="T0" fmla="*/ 15 w 499"/>
              <a:gd name="T1" fmla="*/ 352 h 632"/>
              <a:gd name="T2" fmla="*/ 36 w 499"/>
              <a:gd name="T3" fmla="*/ 516 h 632"/>
              <a:gd name="T4" fmla="*/ 167 w 499"/>
              <a:gd name="T5" fmla="*/ 617 h 632"/>
              <a:gd name="T6" fmla="*/ 331 w 499"/>
              <a:gd name="T7" fmla="*/ 595 h 632"/>
              <a:gd name="T8" fmla="*/ 498 w 499"/>
              <a:gd name="T9" fmla="*/ 499 h 632"/>
              <a:gd name="T10" fmla="*/ 498 w 499"/>
              <a:gd name="T11" fmla="*/ 0 h 632"/>
              <a:gd name="T12" fmla="*/ 115 w 499"/>
              <a:gd name="T13" fmla="*/ 221 h 632"/>
              <a:gd name="T14" fmla="*/ 15 w 499"/>
              <a:gd name="T15" fmla="*/ 352 h 6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9" h="632">
                <a:moveTo>
                  <a:pt x="15" y="352"/>
                </a:moveTo>
                <a:cubicBezTo>
                  <a:pt x="0" y="405"/>
                  <a:pt x="6" y="464"/>
                  <a:pt x="36" y="516"/>
                </a:cubicBezTo>
                <a:cubicBezTo>
                  <a:pt x="66" y="568"/>
                  <a:pt x="114" y="602"/>
                  <a:pt x="167" y="617"/>
                </a:cubicBezTo>
                <a:cubicBezTo>
                  <a:pt x="221" y="631"/>
                  <a:pt x="280" y="625"/>
                  <a:pt x="331" y="595"/>
                </a:cubicBezTo>
                <a:lnTo>
                  <a:pt x="498" y="499"/>
                </a:lnTo>
                <a:lnTo>
                  <a:pt x="498" y="0"/>
                </a:lnTo>
                <a:lnTo>
                  <a:pt x="115" y="221"/>
                </a:lnTo>
                <a:cubicBezTo>
                  <a:pt x="64" y="251"/>
                  <a:pt x="29" y="299"/>
                  <a:pt x="15" y="352"/>
                </a:cubicBezTo>
              </a:path>
            </a:pathLst>
          </a:custGeom>
          <a:solidFill>
            <a:schemeClr val="accent1"/>
          </a:solidFill>
          <a:ln>
            <a:noFill/>
          </a:ln>
          <a:effectLst/>
        </p:spPr>
        <p:txBody>
          <a:bodyPr wrap="none" anchor="ctr"/>
          <a:lstStyle/>
          <a:p>
            <a:endParaRPr dirty="0"/>
          </a:p>
        </p:txBody>
      </p:sp>
      <p:sp>
        <p:nvSpPr>
          <p:cNvPr id="17" name="Freeform 76">
            <a:extLst>
              <a:ext uri="{FF2B5EF4-FFF2-40B4-BE49-F238E27FC236}">
                <a16:creationId xmlns:a16="http://schemas.microsoft.com/office/drawing/2014/main" id="{8C16E441-DE46-4AD1-AC51-EA11737B68C6}"/>
              </a:ext>
            </a:extLst>
          </p:cNvPr>
          <p:cNvSpPr>
            <a:spLocks noChangeArrowheads="1"/>
          </p:cNvSpPr>
          <p:nvPr/>
        </p:nvSpPr>
        <p:spPr bwMode="auto">
          <a:xfrm>
            <a:off x="4477926" y="0"/>
            <a:ext cx="3988741" cy="1712142"/>
          </a:xfrm>
          <a:custGeom>
            <a:avLst/>
            <a:gdLst>
              <a:gd name="T0" fmla="*/ 50 w 934"/>
              <a:gd name="T1" fmla="*/ 260 h 400"/>
              <a:gd name="T2" fmla="*/ 345 w 934"/>
              <a:gd name="T3" fmla="*/ 339 h 400"/>
              <a:gd name="T4" fmla="*/ 933 w 934"/>
              <a:gd name="T5" fmla="*/ 0 h 400"/>
              <a:gd name="T6" fmla="*/ 84 w 934"/>
              <a:gd name="T7" fmla="*/ 0 h 400"/>
              <a:gd name="T8" fmla="*/ 50 w 934"/>
              <a:gd name="T9" fmla="*/ 260 h 400"/>
            </a:gdLst>
            <a:ahLst/>
            <a:cxnLst>
              <a:cxn ang="0">
                <a:pos x="T0" y="T1"/>
              </a:cxn>
              <a:cxn ang="0">
                <a:pos x="T2" y="T3"/>
              </a:cxn>
              <a:cxn ang="0">
                <a:pos x="T4" y="T5"/>
              </a:cxn>
              <a:cxn ang="0">
                <a:pos x="T6" y="T7"/>
              </a:cxn>
              <a:cxn ang="0">
                <a:pos x="T8" y="T9"/>
              </a:cxn>
            </a:cxnLst>
            <a:rect l="0" t="0" r="r" b="b"/>
            <a:pathLst>
              <a:path w="934" h="400">
                <a:moveTo>
                  <a:pt x="50" y="260"/>
                </a:moveTo>
                <a:cubicBezTo>
                  <a:pt x="110" y="363"/>
                  <a:pt x="242" y="399"/>
                  <a:pt x="345" y="339"/>
                </a:cubicBezTo>
                <a:lnTo>
                  <a:pt x="933" y="0"/>
                </a:lnTo>
                <a:lnTo>
                  <a:pt x="84" y="0"/>
                </a:lnTo>
                <a:cubicBezTo>
                  <a:pt x="17" y="67"/>
                  <a:pt x="0" y="174"/>
                  <a:pt x="50" y="260"/>
                </a:cubicBezTo>
              </a:path>
            </a:pathLst>
          </a:custGeom>
          <a:solidFill>
            <a:schemeClr val="accent4"/>
          </a:solidFill>
          <a:ln>
            <a:noFill/>
          </a:ln>
          <a:effectLst/>
        </p:spPr>
        <p:txBody>
          <a:bodyPr wrap="none" anchor="ctr"/>
          <a:lstStyle/>
          <a:p>
            <a:endParaRPr dirty="0"/>
          </a:p>
        </p:txBody>
      </p:sp>
      <p:sp>
        <p:nvSpPr>
          <p:cNvPr id="2" name="Title 1">
            <a:extLst>
              <a:ext uri="{FF2B5EF4-FFF2-40B4-BE49-F238E27FC236}">
                <a16:creationId xmlns:a16="http://schemas.microsoft.com/office/drawing/2014/main" id="{EC9DBBEB-CFD6-4E01-A45F-4CB0419CF96A}"/>
              </a:ext>
            </a:extLst>
          </p:cNvPr>
          <p:cNvSpPr>
            <a:spLocks noGrp="1"/>
          </p:cNvSpPr>
          <p:nvPr userDrawn="1">
            <p:ph type="title"/>
          </p:nvPr>
        </p:nvSpPr>
        <p:spPr>
          <a:xfrm>
            <a:off x="1343025" y="2083034"/>
            <a:ext cx="7200900" cy="1612666"/>
          </a:xfrm>
        </p:spPr>
        <p:txBody>
          <a:bodyPr vert="horz" lIns="0" tIns="0" rIns="0" bIns="0" rtlCol="0" anchor="t" anchorCtr="0">
            <a:normAutofit/>
          </a:bodyPr>
          <a:lstStyle>
            <a:lvl1pPr marL="0" indent="0">
              <a:buFont typeface="Arial" panose="020B0604020202020204" pitchFamily="34" charset="0"/>
              <a:buNone/>
              <a:defRPr lang="en-GB" sz="5400" dirty="0"/>
            </a:lvl1pPr>
          </a:lstStyle>
          <a:p>
            <a:pPr lvl="0"/>
            <a:r>
              <a:rPr lang="en-US"/>
              <a:t>Click to edit Master title style</a:t>
            </a:r>
            <a:endParaRPr lang="en-GB" dirty="0"/>
          </a:p>
        </p:txBody>
      </p:sp>
      <p:sp>
        <p:nvSpPr>
          <p:cNvPr id="3" name="Text Placeholder 2">
            <a:extLst>
              <a:ext uri="{FF2B5EF4-FFF2-40B4-BE49-F238E27FC236}">
                <a16:creationId xmlns:a16="http://schemas.microsoft.com/office/drawing/2014/main" id="{278E103B-4121-4BCA-89E5-49B0F4DAAC9B}"/>
              </a:ext>
            </a:extLst>
          </p:cNvPr>
          <p:cNvSpPr>
            <a:spLocks noGrp="1"/>
          </p:cNvSpPr>
          <p:nvPr userDrawn="1">
            <p:ph type="body" idx="1"/>
          </p:nvPr>
        </p:nvSpPr>
        <p:spPr>
          <a:xfrm>
            <a:off x="1343025" y="3066707"/>
            <a:ext cx="7200900" cy="1154381"/>
          </a:xfrm>
        </p:spPr>
        <p:txBody>
          <a:bodyPr vert="horz" lIns="0" tIns="0" rIns="0" bIns="0" rtlCol="0" anchor="t" anchorCtr="0">
            <a:normAutofit/>
          </a:bodyPr>
          <a:lstStyle>
            <a:lvl1pPr marL="0" indent="0">
              <a:spcBef>
                <a:spcPts val="0"/>
              </a:spcBef>
              <a:buNone/>
              <a:defRPr lang="en-US" sz="2800" smtClean="0">
                <a:solidFill>
                  <a:schemeClr val="accent2"/>
                </a:solidFill>
              </a:defRPr>
            </a:lvl1pPr>
          </a:lstStyle>
          <a:p>
            <a:pPr marL="228600" lvl="0" indent="-228600">
              <a:spcAft>
                <a:spcPts val="0"/>
              </a:spcAft>
            </a:pPr>
            <a:r>
              <a:rPr lang="en-US"/>
              <a:t>Click to edit Master text styles</a:t>
            </a:r>
          </a:p>
        </p:txBody>
      </p:sp>
    </p:spTree>
    <p:extLst>
      <p:ext uri="{BB962C8B-B14F-4D97-AF65-F5344CB8AC3E}">
        <p14:creationId xmlns:p14="http://schemas.microsoft.com/office/powerpoint/2010/main" val="2559923442"/>
      </p:ext>
    </p:extLst>
  </p:cSld>
  <p:clrMapOvr>
    <a:masterClrMapping/>
  </p:clrMapOvr>
  <p:extLst>
    <p:ext uri="{DCECCB84-F9BA-43D5-87BE-67443E8EF086}">
      <p15:sldGuideLst xmlns:p15="http://schemas.microsoft.com/office/powerpoint/2012/main">
        <p15:guide id="1" pos="846" userDrawn="1">
          <p15:clr>
            <a:srgbClr val="FBAE40"/>
          </p15:clr>
        </p15:guide>
        <p15:guide id="2" pos="5382"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secHead" preserve="1">
  <p:cSld name="2_Section Header">
    <p:spTree>
      <p:nvGrpSpPr>
        <p:cNvPr id="1" name=""/>
        <p:cNvGrpSpPr/>
        <p:nvPr/>
      </p:nvGrpSpPr>
      <p:grpSpPr>
        <a:xfrm>
          <a:off x="0" y="0"/>
          <a:ext cx="0" cy="0"/>
          <a:chOff x="0" y="0"/>
          <a:chExt cx="0" cy="0"/>
        </a:xfrm>
      </p:grpSpPr>
      <p:sp>
        <p:nvSpPr>
          <p:cNvPr id="8" name="Freeform 67">
            <a:extLst>
              <a:ext uri="{FF2B5EF4-FFF2-40B4-BE49-F238E27FC236}">
                <a16:creationId xmlns:a16="http://schemas.microsoft.com/office/drawing/2014/main" id="{F6E627BD-49CF-47F3-90F5-8DE5C3B0C487}"/>
              </a:ext>
            </a:extLst>
          </p:cNvPr>
          <p:cNvSpPr>
            <a:spLocks noChangeArrowheads="1"/>
          </p:cNvSpPr>
          <p:nvPr/>
        </p:nvSpPr>
        <p:spPr bwMode="auto">
          <a:xfrm>
            <a:off x="0" y="2991549"/>
            <a:ext cx="921920" cy="1825043"/>
          </a:xfrm>
          <a:custGeom>
            <a:avLst/>
            <a:gdLst>
              <a:gd name="T0" fmla="*/ 155 w 215"/>
              <a:gd name="T1" fmla="*/ 105 h 427"/>
              <a:gd name="T2" fmla="*/ 0 w 215"/>
              <a:gd name="T3" fmla="*/ 0 h 427"/>
              <a:gd name="T4" fmla="*/ 0 w 215"/>
              <a:gd name="T5" fmla="*/ 66 h 427"/>
              <a:gd name="T6" fmla="*/ 98 w 215"/>
              <a:gd name="T7" fmla="*/ 137 h 427"/>
              <a:gd name="T8" fmla="*/ 43 w 215"/>
              <a:gd name="T9" fmla="*/ 343 h 427"/>
              <a:gd name="T10" fmla="*/ 0 w 215"/>
              <a:gd name="T11" fmla="*/ 359 h 427"/>
              <a:gd name="T12" fmla="*/ 0 w 215"/>
              <a:gd name="T13" fmla="*/ 426 h 427"/>
              <a:gd name="T14" fmla="*/ 76 w 215"/>
              <a:gd name="T15" fmla="*/ 400 h 427"/>
              <a:gd name="T16" fmla="*/ 155 w 215"/>
              <a:gd name="T17" fmla="*/ 105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5" h="427">
                <a:moveTo>
                  <a:pt x="155" y="105"/>
                </a:moveTo>
                <a:cubicBezTo>
                  <a:pt x="121" y="47"/>
                  <a:pt x="63" y="10"/>
                  <a:pt x="0" y="0"/>
                </a:cubicBezTo>
                <a:lnTo>
                  <a:pt x="0" y="66"/>
                </a:lnTo>
                <a:cubicBezTo>
                  <a:pt x="41" y="75"/>
                  <a:pt x="77" y="100"/>
                  <a:pt x="98" y="137"/>
                </a:cubicBezTo>
                <a:cubicBezTo>
                  <a:pt x="140" y="209"/>
                  <a:pt x="115" y="301"/>
                  <a:pt x="43" y="343"/>
                </a:cubicBezTo>
                <a:cubicBezTo>
                  <a:pt x="30" y="351"/>
                  <a:pt x="15" y="356"/>
                  <a:pt x="0" y="359"/>
                </a:cubicBezTo>
                <a:lnTo>
                  <a:pt x="0" y="426"/>
                </a:lnTo>
                <a:cubicBezTo>
                  <a:pt x="26" y="422"/>
                  <a:pt x="52" y="413"/>
                  <a:pt x="76" y="400"/>
                </a:cubicBezTo>
                <a:cubicBezTo>
                  <a:pt x="179" y="340"/>
                  <a:pt x="214" y="208"/>
                  <a:pt x="155" y="105"/>
                </a:cubicBezTo>
              </a:path>
            </a:pathLst>
          </a:custGeom>
          <a:solidFill>
            <a:schemeClr val="accent1">
              <a:alpha val="40000"/>
            </a:schemeClr>
          </a:solidFill>
          <a:ln>
            <a:noFill/>
          </a:ln>
          <a:effectLst/>
        </p:spPr>
        <p:txBody>
          <a:bodyPr wrap="none" anchor="ctr"/>
          <a:lstStyle/>
          <a:p>
            <a:endParaRPr dirty="0"/>
          </a:p>
        </p:txBody>
      </p:sp>
      <p:sp>
        <p:nvSpPr>
          <p:cNvPr id="9" name="Freeform 68">
            <a:extLst>
              <a:ext uri="{FF2B5EF4-FFF2-40B4-BE49-F238E27FC236}">
                <a16:creationId xmlns:a16="http://schemas.microsoft.com/office/drawing/2014/main" id="{73125E73-2849-4610-906B-E198401E9F42}"/>
              </a:ext>
            </a:extLst>
          </p:cNvPr>
          <p:cNvSpPr>
            <a:spLocks noChangeArrowheads="1"/>
          </p:cNvSpPr>
          <p:nvPr/>
        </p:nvSpPr>
        <p:spPr bwMode="auto">
          <a:xfrm>
            <a:off x="8851840" y="4675650"/>
            <a:ext cx="1937932" cy="2013191"/>
          </a:xfrm>
          <a:custGeom>
            <a:avLst/>
            <a:gdLst>
              <a:gd name="T0" fmla="*/ 324 w 456"/>
              <a:gd name="T1" fmla="*/ 178 h 470"/>
              <a:gd name="T2" fmla="*/ 303 w 456"/>
              <a:gd name="T3" fmla="*/ 14 h 470"/>
              <a:gd name="T4" fmla="*/ 139 w 456"/>
              <a:gd name="T5" fmla="*/ 36 h 470"/>
              <a:gd name="T6" fmla="*/ 60 w 456"/>
              <a:gd name="T7" fmla="*/ 331 h 470"/>
              <a:gd name="T8" fmla="*/ 355 w 456"/>
              <a:gd name="T9" fmla="*/ 410 h 470"/>
              <a:gd name="T10" fmla="*/ 455 w 456"/>
              <a:gd name="T11" fmla="*/ 279 h 470"/>
              <a:gd name="T12" fmla="*/ 324 w 456"/>
              <a:gd name="T13" fmla="*/ 178 h 470"/>
            </a:gdLst>
            <a:ahLst/>
            <a:cxnLst>
              <a:cxn ang="0">
                <a:pos x="T0" y="T1"/>
              </a:cxn>
              <a:cxn ang="0">
                <a:pos x="T2" y="T3"/>
              </a:cxn>
              <a:cxn ang="0">
                <a:pos x="T4" y="T5"/>
              </a:cxn>
              <a:cxn ang="0">
                <a:pos x="T6" y="T7"/>
              </a:cxn>
              <a:cxn ang="0">
                <a:pos x="T8" y="T9"/>
              </a:cxn>
              <a:cxn ang="0">
                <a:pos x="T10" y="T11"/>
              </a:cxn>
              <a:cxn ang="0">
                <a:pos x="T12" y="T13"/>
              </a:cxn>
            </a:cxnLst>
            <a:rect l="0" t="0" r="r" b="b"/>
            <a:pathLst>
              <a:path w="456" h="470">
                <a:moveTo>
                  <a:pt x="324" y="178"/>
                </a:moveTo>
                <a:cubicBezTo>
                  <a:pt x="294" y="126"/>
                  <a:pt x="288" y="67"/>
                  <a:pt x="303" y="14"/>
                </a:cubicBezTo>
                <a:cubicBezTo>
                  <a:pt x="249" y="0"/>
                  <a:pt x="190" y="6"/>
                  <a:pt x="139" y="36"/>
                </a:cubicBezTo>
                <a:cubicBezTo>
                  <a:pt x="36" y="95"/>
                  <a:pt x="0" y="227"/>
                  <a:pt x="60" y="331"/>
                </a:cubicBezTo>
                <a:cubicBezTo>
                  <a:pt x="119" y="434"/>
                  <a:pt x="252" y="469"/>
                  <a:pt x="355" y="410"/>
                </a:cubicBezTo>
                <a:cubicBezTo>
                  <a:pt x="406" y="380"/>
                  <a:pt x="441" y="332"/>
                  <a:pt x="455" y="279"/>
                </a:cubicBezTo>
                <a:cubicBezTo>
                  <a:pt x="402" y="264"/>
                  <a:pt x="354" y="230"/>
                  <a:pt x="324" y="178"/>
                </a:cubicBezTo>
              </a:path>
            </a:pathLst>
          </a:custGeom>
          <a:solidFill>
            <a:schemeClr val="accent4">
              <a:alpha val="40000"/>
            </a:schemeClr>
          </a:solidFill>
          <a:ln>
            <a:noFill/>
          </a:ln>
          <a:effectLst/>
        </p:spPr>
        <p:txBody>
          <a:bodyPr wrap="none" anchor="ctr"/>
          <a:lstStyle/>
          <a:p>
            <a:endParaRPr dirty="0"/>
          </a:p>
        </p:txBody>
      </p:sp>
      <p:sp>
        <p:nvSpPr>
          <p:cNvPr id="10" name="Freeform 69">
            <a:extLst>
              <a:ext uri="{FF2B5EF4-FFF2-40B4-BE49-F238E27FC236}">
                <a16:creationId xmlns:a16="http://schemas.microsoft.com/office/drawing/2014/main" id="{085EC0CD-5537-4033-95BA-5B7BE295665E}"/>
              </a:ext>
            </a:extLst>
          </p:cNvPr>
          <p:cNvSpPr>
            <a:spLocks noChangeArrowheads="1"/>
          </p:cNvSpPr>
          <p:nvPr/>
        </p:nvSpPr>
        <p:spPr bwMode="auto">
          <a:xfrm>
            <a:off x="10169576" y="1947508"/>
            <a:ext cx="451556" cy="733772"/>
          </a:xfrm>
          <a:custGeom>
            <a:avLst/>
            <a:gdLst>
              <a:gd name="T0" fmla="*/ 7 w 107"/>
              <a:gd name="T1" fmla="*/ 0 h 173"/>
              <a:gd name="T2" fmla="*/ 24 w 107"/>
              <a:gd name="T3" fmla="*/ 105 h 173"/>
              <a:gd name="T4" fmla="*/ 106 w 107"/>
              <a:gd name="T5" fmla="*/ 172 h 173"/>
              <a:gd name="T6" fmla="*/ 77 w 107"/>
              <a:gd name="T7" fmla="*/ 74 h 173"/>
              <a:gd name="T8" fmla="*/ 7 w 107"/>
              <a:gd name="T9" fmla="*/ 0 h 173"/>
            </a:gdLst>
            <a:ahLst/>
            <a:cxnLst>
              <a:cxn ang="0">
                <a:pos x="T0" y="T1"/>
              </a:cxn>
              <a:cxn ang="0">
                <a:pos x="T2" y="T3"/>
              </a:cxn>
              <a:cxn ang="0">
                <a:pos x="T4" y="T5"/>
              </a:cxn>
              <a:cxn ang="0">
                <a:pos x="T6" y="T7"/>
              </a:cxn>
              <a:cxn ang="0">
                <a:pos x="T8" y="T9"/>
              </a:cxn>
            </a:cxnLst>
            <a:rect l="0" t="0" r="r" b="b"/>
            <a:pathLst>
              <a:path w="107" h="173">
                <a:moveTo>
                  <a:pt x="7" y="0"/>
                </a:moveTo>
                <a:cubicBezTo>
                  <a:pt x="0" y="36"/>
                  <a:pt x="6" y="73"/>
                  <a:pt x="24" y="105"/>
                </a:cubicBezTo>
                <a:cubicBezTo>
                  <a:pt x="42" y="136"/>
                  <a:pt x="72" y="160"/>
                  <a:pt x="106" y="172"/>
                </a:cubicBezTo>
                <a:cubicBezTo>
                  <a:pt x="104" y="138"/>
                  <a:pt x="95" y="105"/>
                  <a:pt x="77" y="74"/>
                </a:cubicBezTo>
                <a:cubicBezTo>
                  <a:pt x="59" y="43"/>
                  <a:pt x="35" y="18"/>
                  <a:pt x="7" y="0"/>
                </a:cubicBezTo>
              </a:path>
            </a:pathLst>
          </a:custGeom>
          <a:solidFill>
            <a:schemeClr val="accent5">
              <a:alpha val="40000"/>
            </a:schemeClr>
          </a:solidFill>
          <a:ln>
            <a:noFill/>
          </a:ln>
          <a:effectLst/>
        </p:spPr>
        <p:txBody>
          <a:bodyPr wrap="none" anchor="ctr"/>
          <a:lstStyle/>
          <a:p>
            <a:endParaRPr dirty="0"/>
          </a:p>
        </p:txBody>
      </p:sp>
      <p:sp>
        <p:nvSpPr>
          <p:cNvPr id="11" name="Freeform 70">
            <a:extLst>
              <a:ext uri="{FF2B5EF4-FFF2-40B4-BE49-F238E27FC236}">
                <a16:creationId xmlns:a16="http://schemas.microsoft.com/office/drawing/2014/main" id="{1F65C563-1A5F-4974-AE3F-43C15F4DF605}"/>
              </a:ext>
            </a:extLst>
          </p:cNvPr>
          <p:cNvSpPr>
            <a:spLocks noChangeArrowheads="1"/>
          </p:cNvSpPr>
          <p:nvPr/>
        </p:nvSpPr>
        <p:spPr bwMode="auto">
          <a:xfrm>
            <a:off x="8670862" y="1752545"/>
            <a:ext cx="1937920" cy="2013179"/>
          </a:xfrm>
          <a:custGeom>
            <a:avLst/>
            <a:gdLst>
              <a:gd name="T0" fmla="*/ 355 w 456"/>
              <a:gd name="T1" fmla="*/ 409 h 470"/>
              <a:gd name="T2" fmla="*/ 455 w 456"/>
              <a:gd name="T3" fmla="*/ 279 h 470"/>
              <a:gd name="T4" fmla="*/ 324 w 456"/>
              <a:gd name="T5" fmla="*/ 178 h 470"/>
              <a:gd name="T6" fmla="*/ 303 w 456"/>
              <a:gd name="T7" fmla="*/ 14 h 470"/>
              <a:gd name="T8" fmla="*/ 139 w 456"/>
              <a:gd name="T9" fmla="*/ 36 h 470"/>
              <a:gd name="T10" fmla="*/ 60 w 456"/>
              <a:gd name="T11" fmla="*/ 331 h 470"/>
              <a:gd name="T12" fmla="*/ 355 w 456"/>
              <a:gd name="T13" fmla="*/ 409 h 470"/>
            </a:gdLst>
            <a:ahLst/>
            <a:cxnLst>
              <a:cxn ang="0">
                <a:pos x="T0" y="T1"/>
              </a:cxn>
              <a:cxn ang="0">
                <a:pos x="T2" y="T3"/>
              </a:cxn>
              <a:cxn ang="0">
                <a:pos x="T4" y="T5"/>
              </a:cxn>
              <a:cxn ang="0">
                <a:pos x="T6" y="T7"/>
              </a:cxn>
              <a:cxn ang="0">
                <a:pos x="T8" y="T9"/>
              </a:cxn>
              <a:cxn ang="0">
                <a:pos x="T10" y="T11"/>
              </a:cxn>
              <a:cxn ang="0">
                <a:pos x="T12" y="T13"/>
              </a:cxn>
            </a:cxnLst>
            <a:rect l="0" t="0" r="r" b="b"/>
            <a:pathLst>
              <a:path w="456" h="470">
                <a:moveTo>
                  <a:pt x="355" y="409"/>
                </a:moveTo>
                <a:cubicBezTo>
                  <a:pt x="407" y="379"/>
                  <a:pt x="441" y="332"/>
                  <a:pt x="455" y="279"/>
                </a:cubicBezTo>
                <a:cubicBezTo>
                  <a:pt x="402" y="265"/>
                  <a:pt x="353" y="229"/>
                  <a:pt x="324" y="178"/>
                </a:cubicBezTo>
                <a:cubicBezTo>
                  <a:pt x="294" y="126"/>
                  <a:pt x="288" y="68"/>
                  <a:pt x="303" y="14"/>
                </a:cubicBezTo>
                <a:cubicBezTo>
                  <a:pt x="249" y="0"/>
                  <a:pt x="191" y="6"/>
                  <a:pt x="139" y="36"/>
                </a:cubicBezTo>
                <a:cubicBezTo>
                  <a:pt x="36" y="96"/>
                  <a:pt x="0" y="228"/>
                  <a:pt x="60" y="331"/>
                </a:cubicBezTo>
                <a:cubicBezTo>
                  <a:pt x="120" y="433"/>
                  <a:pt x="252" y="469"/>
                  <a:pt x="355" y="409"/>
                </a:cubicBezTo>
              </a:path>
            </a:pathLst>
          </a:custGeom>
          <a:solidFill>
            <a:schemeClr val="accent5">
              <a:alpha val="40000"/>
            </a:schemeClr>
          </a:solidFill>
          <a:ln>
            <a:noFill/>
          </a:ln>
          <a:effectLst/>
        </p:spPr>
        <p:txBody>
          <a:bodyPr wrap="none" anchor="ctr"/>
          <a:lstStyle/>
          <a:p>
            <a:endParaRPr/>
          </a:p>
        </p:txBody>
      </p:sp>
      <p:sp>
        <p:nvSpPr>
          <p:cNvPr id="12" name="Freeform 71">
            <a:extLst>
              <a:ext uri="{FF2B5EF4-FFF2-40B4-BE49-F238E27FC236}">
                <a16:creationId xmlns:a16="http://schemas.microsoft.com/office/drawing/2014/main" id="{E52E6DC7-3D71-4068-8E4B-4198314DFAEA}"/>
              </a:ext>
            </a:extLst>
          </p:cNvPr>
          <p:cNvSpPr>
            <a:spLocks noChangeArrowheads="1"/>
          </p:cNvSpPr>
          <p:nvPr/>
        </p:nvSpPr>
        <p:spPr bwMode="auto">
          <a:xfrm>
            <a:off x="9938039" y="1147698"/>
            <a:ext cx="1937932" cy="1843852"/>
          </a:xfrm>
          <a:custGeom>
            <a:avLst/>
            <a:gdLst>
              <a:gd name="T0" fmla="*/ 63 w 456"/>
              <a:gd name="T1" fmla="*/ 177 h 433"/>
              <a:gd name="T2" fmla="*/ 133 w 456"/>
              <a:gd name="T3" fmla="*/ 86 h 433"/>
              <a:gd name="T4" fmla="*/ 208 w 456"/>
              <a:gd name="T5" fmla="*/ 66 h 433"/>
              <a:gd name="T6" fmla="*/ 208 w 456"/>
              <a:gd name="T7" fmla="*/ 66 h 433"/>
              <a:gd name="T8" fmla="*/ 339 w 456"/>
              <a:gd name="T9" fmla="*/ 141 h 433"/>
              <a:gd name="T10" fmla="*/ 284 w 456"/>
              <a:gd name="T11" fmla="*/ 347 h 433"/>
              <a:gd name="T12" fmla="*/ 209 w 456"/>
              <a:gd name="T13" fmla="*/ 367 h 433"/>
              <a:gd name="T14" fmla="*/ 160 w 456"/>
              <a:gd name="T15" fmla="*/ 359 h 433"/>
              <a:gd name="T16" fmla="*/ 152 w 456"/>
              <a:gd name="T17" fmla="*/ 425 h 433"/>
              <a:gd name="T18" fmla="*/ 209 w 456"/>
              <a:gd name="T19" fmla="*/ 432 h 433"/>
              <a:gd name="T20" fmla="*/ 316 w 456"/>
              <a:gd name="T21" fmla="*/ 403 h 433"/>
              <a:gd name="T22" fmla="*/ 395 w 456"/>
              <a:gd name="T23" fmla="*/ 108 h 433"/>
              <a:gd name="T24" fmla="*/ 208 w 456"/>
              <a:gd name="T25" fmla="*/ 0 h 433"/>
              <a:gd name="T26" fmla="*/ 100 w 456"/>
              <a:gd name="T27" fmla="*/ 29 h 433"/>
              <a:gd name="T28" fmla="*/ 0 w 456"/>
              <a:gd name="T29" fmla="*/ 160 h 433"/>
              <a:gd name="T30" fmla="*/ 61 w 456"/>
              <a:gd name="T31" fmla="*/ 187 h 433"/>
              <a:gd name="T32" fmla="*/ 63 w 456"/>
              <a:gd name="T33" fmla="*/ 177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6" h="433">
                <a:moveTo>
                  <a:pt x="63" y="177"/>
                </a:moveTo>
                <a:cubicBezTo>
                  <a:pt x="73" y="139"/>
                  <a:pt x="98" y="106"/>
                  <a:pt x="133" y="86"/>
                </a:cubicBezTo>
                <a:cubicBezTo>
                  <a:pt x="156" y="73"/>
                  <a:pt x="182" y="66"/>
                  <a:pt x="208" y="66"/>
                </a:cubicBezTo>
                <a:lnTo>
                  <a:pt x="208" y="66"/>
                </a:lnTo>
                <a:cubicBezTo>
                  <a:pt x="262" y="66"/>
                  <a:pt x="312" y="95"/>
                  <a:pt x="339" y="141"/>
                </a:cubicBezTo>
                <a:cubicBezTo>
                  <a:pt x="380" y="213"/>
                  <a:pt x="356" y="305"/>
                  <a:pt x="284" y="347"/>
                </a:cubicBezTo>
                <a:cubicBezTo>
                  <a:pt x="261" y="360"/>
                  <a:pt x="235" y="367"/>
                  <a:pt x="209" y="367"/>
                </a:cubicBezTo>
                <a:cubicBezTo>
                  <a:pt x="192" y="367"/>
                  <a:pt x="175" y="364"/>
                  <a:pt x="160" y="359"/>
                </a:cubicBezTo>
                <a:cubicBezTo>
                  <a:pt x="161" y="381"/>
                  <a:pt x="158" y="403"/>
                  <a:pt x="152" y="425"/>
                </a:cubicBezTo>
                <a:cubicBezTo>
                  <a:pt x="171" y="430"/>
                  <a:pt x="190" y="432"/>
                  <a:pt x="209" y="432"/>
                </a:cubicBezTo>
                <a:cubicBezTo>
                  <a:pt x="245" y="432"/>
                  <a:pt x="282" y="423"/>
                  <a:pt x="316" y="403"/>
                </a:cubicBezTo>
                <a:cubicBezTo>
                  <a:pt x="420" y="344"/>
                  <a:pt x="455" y="212"/>
                  <a:pt x="395" y="108"/>
                </a:cubicBezTo>
                <a:cubicBezTo>
                  <a:pt x="355" y="39"/>
                  <a:pt x="283" y="0"/>
                  <a:pt x="208" y="0"/>
                </a:cubicBezTo>
                <a:cubicBezTo>
                  <a:pt x="172" y="0"/>
                  <a:pt x="134" y="10"/>
                  <a:pt x="100" y="29"/>
                </a:cubicBezTo>
                <a:cubicBezTo>
                  <a:pt x="49" y="59"/>
                  <a:pt x="14" y="107"/>
                  <a:pt x="0" y="160"/>
                </a:cubicBezTo>
                <a:cubicBezTo>
                  <a:pt x="21" y="166"/>
                  <a:pt x="42" y="175"/>
                  <a:pt x="61" y="187"/>
                </a:cubicBezTo>
                <a:cubicBezTo>
                  <a:pt x="61" y="184"/>
                  <a:pt x="62" y="181"/>
                  <a:pt x="63" y="177"/>
                </a:cubicBezTo>
              </a:path>
            </a:pathLst>
          </a:custGeom>
          <a:solidFill>
            <a:schemeClr val="accent5"/>
          </a:solidFill>
          <a:ln>
            <a:noFill/>
          </a:ln>
          <a:effectLst/>
        </p:spPr>
        <p:txBody>
          <a:bodyPr wrap="none" anchor="ctr"/>
          <a:lstStyle/>
          <a:p>
            <a:endParaRPr dirty="0"/>
          </a:p>
        </p:txBody>
      </p:sp>
      <p:sp>
        <p:nvSpPr>
          <p:cNvPr id="13" name="Freeform 72">
            <a:extLst>
              <a:ext uri="{FF2B5EF4-FFF2-40B4-BE49-F238E27FC236}">
                <a16:creationId xmlns:a16="http://schemas.microsoft.com/office/drawing/2014/main" id="{B6315EE1-5FAA-4D29-AA3E-9E77D9BD668B}"/>
              </a:ext>
            </a:extLst>
          </p:cNvPr>
          <p:cNvSpPr>
            <a:spLocks noChangeArrowheads="1"/>
          </p:cNvSpPr>
          <p:nvPr/>
        </p:nvSpPr>
        <p:spPr bwMode="auto">
          <a:xfrm>
            <a:off x="9877772" y="1825031"/>
            <a:ext cx="752593" cy="1128889"/>
          </a:xfrm>
          <a:custGeom>
            <a:avLst/>
            <a:gdLst>
              <a:gd name="T0" fmla="*/ 36 w 177"/>
              <a:gd name="T1" fmla="*/ 164 h 266"/>
              <a:gd name="T2" fmla="*/ 167 w 177"/>
              <a:gd name="T3" fmla="*/ 265 h 266"/>
              <a:gd name="T4" fmla="*/ 175 w 177"/>
              <a:gd name="T5" fmla="*/ 199 h 266"/>
              <a:gd name="T6" fmla="*/ 93 w 177"/>
              <a:gd name="T7" fmla="*/ 132 h 266"/>
              <a:gd name="T8" fmla="*/ 76 w 177"/>
              <a:gd name="T9" fmla="*/ 27 h 266"/>
              <a:gd name="T10" fmla="*/ 15 w 177"/>
              <a:gd name="T11" fmla="*/ 0 h 266"/>
              <a:gd name="T12" fmla="*/ 36 w 177"/>
              <a:gd name="T13" fmla="*/ 164 h 266"/>
            </a:gdLst>
            <a:ahLst/>
            <a:cxnLst>
              <a:cxn ang="0">
                <a:pos x="T0" y="T1"/>
              </a:cxn>
              <a:cxn ang="0">
                <a:pos x="T2" y="T3"/>
              </a:cxn>
              <a:cxn ang="0">
                <a:pos x="T4" y="T5"/>
              </a:cxn>
              <a:cxn ang="0">
                <a:pos x="T6" y="T7"/>
              </a:cxn>
              <a:cxn ang="0">
                <a:pos x="T8" y="T9"/>
              </a:cxn>
              <a:cxn ang="0">
                <a:pos x="T10" y="T11"/>
              </a:cxn>
              <a:cxn ang="0">
                <a:pos x="T12" y="T13"/>
              </a:cxn>
            </a:cxnLst>
            <a:rect l="0" t="0" r="r" b="b"/>
            <a:pathLst>
              <a:path w="177" h="266">
                <a:moveTo>
                  <a:pt x="36" y="164"/>
                </a:moveTo>
                <a:cubicBezTo>
                  <a:pt x="66" y="216"/>
                  <a:pt x="114" y="251"/>
                  <a:pt x="167" y="265"/>
                </a:cubicBezTo>
                <a:cubicBezTo>
                  <a:pt x="173" y="243"/>
                  <a:pt x="176" y="221"/>
                  <a:pt x="175" y="199"/>
                </a:cubicBezTo>
                <a:cubicBezTo>
                  <a:pt x="141" y="187"/>
                  <a:pt x="111" y="163"/>
                  <a:pt x="93" y="132"/>
                </a:cubicBezTo>
                <a:cubicBezTo>
                  <a:pt x="75" y="100"/>
                  <a:pt x="69" y="63"/>
                  <a:pt x="76" y="27"/>
                </a:cubicBezTo>
                <a:cubicBezTo>
                  <a:pt x="57" y="15"/>
                  <a:pt x="36" y="6"/>
                  <a:pt x="15" y="0"/>
                </a:cubicBezTo>
                <a:cubicBezTo>
                  <a:pt x="0" y="54"/>
                  <a:pt x="7" y="113"/>
                  <a:pt x="36" y="164"/>
                </a:cubicBezTo>
              </a:path>
            </a:pathLst>
          </a:custGeom>
          <a:solidFill>
            <a:srgbClr val="0099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a:p>
        </p:txBody>
      </p:sp>
      <p:sp>
        <p:nvSpPr>
          <p:cNvPr id="14" name="Freeform 73">
            <a:extLst>
              <a:ext uri="{FF2B5EF4-FFF2-40B4-BE49-F238E27FC236}">
                <a16:creationId xmlns:a16="http://schemas.microsoft.com/office/drawing/2014/main" id="{1EC5BEE1-0724-4108-9E09-B51210C489C0}"/>
              </a:ext>
            </a:extLst>
          </p:cNvPr>
          <p:cNvSpPr>
            <a:spLocks noChangeArrowheads="1"/>
          </p:cNvSpPr>
          <p:nvPr/>
        </p:nvSpPr>
        <p:spPr bwMode="auto">
          <a:xfrm>
            <a:off x="9877772" y="1825031"/>
            <a:ext cx="752593" cy="1128889"/>
          </a:xfrm>
          <a:custGeom>
            <a:avLst/>
            <a:gdLst>
              <a:gd name="T0" fmla="*/ 36 w 177"/>
              <a:gd name="T1" fmla="*/ 164 h 266"/>
              <a:gd name="T2" fmla="*/ 167 w 177"/>
              <a:gd name="T3" fmla="*/ 265 h 266"/>
              <a:gd name="T4" fmla="*/ 175 w 177"/>
              <a:gd name="T5" fmla="*/ 199 h 266"/>
              <a:gd name="T6" fmla="*/ 93 w 177"/>
              <a:gd name="T7" fmla="*/ 132 h 266"/>
              <a:gd name="T8" fmla="*/ 76 w 177"/>
              <a:gd name="T9" fmla="*/ 27 h 266"/>
              <a:gd name="T10" fmla="*/ 15 w 177"/>
              <a:gd name="T11" fmla="*/ 0 h 266"/>
              <a:gd name="T12" fmla="*/ 36 w 177"/>
              <a:gd name="T13" fmla="*/ 164 h 266"/>
            </a:gdLst>
            <a:ahLst/>
            <a:cxnLst>
              <a:cxn ang="0">
                <a:pos x="T0" y="T1"/>
              </a:cxn>
              <a:cxn ang="0">
                <a:pos x="T2" y="T3"/>
              </a:cxn>
              <a:cxn ang="0">
                <a:pos x="T4" y="T5"/>
              </a:cxn>
              <a:cxn ang="0">
                <a:pos x="T6" y="T7"/>
              </a:cxn>
              <a:cxn ang="0">
                <a:pos x="T8" y="T9"/>
              </a:cxn>
              <a:cxn ang="0">
                <a:pos x="T10" y="T11"/>
              </a:cxn>
              <a:cxn ang="0">
                <a:pos x="T12" y="T13"/>
              </a:cxn>
            </a:cxnLst>
            <a:rect l="0" t="0" r="r" b="b"/>
            <a:pathLst>
              <a:path w="177" h="266">
                <a:moveTo>
                  <a:pt x="36" y="164"/>
                </a:moveTo>
                <a:cubicBezTo>
                  <a:pt x="66" y="216"/>
                  <a:pt x="114" y="251"/>
                  <a:pt x="167" y="265"/>
                </a:cubicBezTo>
                <a:cubicBezTo>
                  <a:pt x="173" y="243"/>
                  <a:pt x="176" y="221"/>
                  <a:pt x="175" y="199"/>
                </a:cubicBezTo>
                <a:cubicBezTo>
                  <a:pt x="141" y="187"/>
                  <a:pt x="111" y="163"/>
                  <a:pt x="93" y="132"/>
                </a:cubicBezTo>
                <a:cubicBezTo>
                  <a:pt x="75" y="100"/>
                  <a:pt x="69" y="63"/>
                  <a:pt x="76" y="27"/>
                </a:cubicBezTo>
                <a:cubicBezTo>
                  <a:pt x="57" y="15"/>
                  <a:pt x="36" y="6"/>
                  <a:pt x="15" y="0"/>
                </a:cubicBezTo>
                <a:cubicBezTo>
                  <a:pt x="0" y="54"/>
                  <a:pt x="7" y="113"/>
                  <a:pt x="36" y="164"/>
                </a:cubicBezTo>
              </a:path>
            </a:pathLst>
          </a:custGeom>
          <a:solidFill>
            <a:schemeClr val="accent5"/>
          </a:solidFill>
          <a:ln>
            <a:noFill/>
          </a:ln>
          <a:effectLst/>
        </p:spPr>
        <p:txBody>
          <a:bodyPr wrap="none" anchor="ctr"/>
          <a:lstStyle/>
          <a:p>
            <a:endParaRPr/>
          </a:p>
        </p:txBody>
      </p:sp>
      <p:sp>
        <p:nvSpPr>
          <p:cNvPr id="15" name="Freeform 74">
            <a:extLst>
              <a:ext uri="{FF2B5EF4-FFF2-40B4-BE49-F238E27FC236}">
                <a16:creationId xmlns:a16="http://schemas.microsoft.com/office/drawing/2014/main" id="{0FFA210F-24E4-4D21-9E52-062CE00C17E8}"/>
              </a:ext>
            </a:extLst>
          </p:cNvPr>
          <p:cNvSpPr>
            <a:spLocks noChangeArrowheads="1"/>
          </p:cNvSpPr>
          <p:nvPr/>
        </p:nvSpPr>
        <p:spPr bwMode="auto">
          <a:xfrm>
            <a:off x="714963" y="4280365"/>
            <a:ext cx="5531556" cy="2577635"/>
          </a:xfrm>
          <a:custGeom>
            <a:avLst/>
            <a:gdLst>
              <a:gd name="T0" fmla="*/ 1237 w 1298"/>
              <a:gd name="T1" fmla="*/ 139 h 605"/>
              <a:gd name="T2" fmla="*/ 942 w 1298"/>
              <a:gd name="T3" fmla="*/ 60 h 605"/>
              <a:gd name="T4" fmla="*/ 0 w 1298"/>
              <a:gd name="T5" fmla="*/ 604 h 605"/>
              <a:gd name="T6" fmla="*/ 864 w 1298"/>
              <a:gd name="T7" fmla="*/ 604 h 605"/>
              <a:gd name="T8" fmla="*/ 1158 w 1298"/>
              <a:gd name="T9" fmla="*/ 434 h 605"/>
              <a:gd name="T10" fmla="*/ 1237 w 1298"/>
              <a:gd name="T11" fmla="*/ 139 h 605"/>
            </a:gdLst>
            <a:ahLst/>
            <a:cxnLst>
              <a:cxn ang="0">
                <a:pos x="T0" y="T1"/>
              </a:cxn>
              <a:cxn ang="0">
                <a:pos x="T2" y="T3"/>
              </a:cxn>
              <a:cxn ang="0">
                <a:pos x="T4" y="T5"/>
              </a:cxn>
              <a:cxn ang="0">
                <a:pos x="T6" y="T7"/>
              </a:cxn>
              <a:cxn ang="0">
                <a:pos x="T8" y="T9"/>
              </a:cxn>
              <a:cxn ang="0">
                <a:pos x="T10" y="T11"/>
              </a:cxn>
            </a:cxnLst>
            <a:rect l="0" t="0" r="r" b="b"/>
            <a:pathLst>
              <a:path w="1298" h="605">
                <a:moveTo>
                  <a:pt x="1237" y="139"/>
                </a:moveTo>
                <a:cubicBezTo>
                  <a:pt x="1177" y="36"/>
                  <a:pt x="1045" y="0"/>
                  <a:pt x="942" y="60"/>
                </a:cubicBezTo>
                <a:lnTo>
                  <a:pt x="0" y="604"/>
                </a:lnTo>
                <a:lnTo>
                  <a:pt x="864" y="604"/>
                </a:lnTo>
                <a:lnTo>
                  <a:pt x="1158" y="434"/>
                </a:lnTo>
                <a:cubicBezTo>
                  <a:pt x="1261" y="374"/>
                  <a:pt x="1297" y="242"/>
                  <a:pt x="1237" y="139"/>
                </a:cubicBezTo>
              </a:path>
            </a:pathLst>
          </a:custGeom>
          <a:solidFill>
            <a:schemeClr val="accent5"/>
          </a:solidFill>
          <a:ln>
            <a:noFill/>
          </a:ln>
          <a:effectLst/>
        </p:spPr>
        <p:txBody>
          <a:bodyPr wrap="none" anchor="ctr"/>
          <a:lstStyle/>
          <a:p>
            <a:endParaRPr dirty="0"/>
          </a:p>
        </p:txBody>
      </p:sp>
      <p:sp>
        <p:nvSpPr>
          <p:cNvPr id="16" name="Freeform 75">
            <a:extLst>
              <a:ext uri="{FF2B5EF4-FFF2-40B4-BE49-F238E27FC236}">
                <a16:creationId xmlns:a16="http://schemas.microsoft.com/office/drawing/2014/main" id="{3E1A5540-8089-4989-A345-C0649F6FACA8}"/>
              </a:ext>
            </a:extLst>
          </p:cNvPr>
          <p:cNvSpPr>
            <a:spLocks noChangeArrowheads="1"/>
          </p:cNvSpPr>
          <p:nvPr/>
        </p:nvSpPr>
        <p:spPr bwMode="auto">
          <a:xfrm>
            <a:off x="10065920" y="3236148"/>
            <a:ext cx="2126080" cy="2690512"/>
          </a:xfrm>
          <a:custGeom>
            <a:avLst/>
            <a:gdLst>
              <a:gd name="T0" fmla="*/ 15 w 499"/>
              <a:gd name="T1" fmla="*/ 352 h 632"/>
              <a:gd name="T2" fmla="*/ 36 w 499"/>
              <a:gd name="T3" fmla="*/ 516 h 632"/>
              <a:gd name="T4" fmla="*/ 167 w 499"/>
              <a:gd name="T5" fmla="*/ 617 h 632"/>
              <a:gd name="T6" fmla="*/ 331 w 499"/>
              <a:gd name="T7" fmla="*/ 595 h 632"/>
              <a:gd name="T8" fmla="*/ 498 w 499"/>
              <a:gd name="T9" fmla="*/ 499 h 632"/>
              <a:gd name="T10" fmla="*/ 498 w 499"/>
              <a:gd name="T11" fmla="*/ 0 h 632"/>
              <a:gd name="T12" fmla="*/ 115 w 499"/>
              <a:gd name="T13" fmla="*/ 221 h 632"/>
              <a:gd name="T14" fmla="*/ 15 w 499"/>
              <a:gd name="T15" fmla="*/ 352 h 6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9" h="632">
                <a:moveTo>
                  <a:pt x="15" y="352"/>
                </a:moveTo>
                <a:cubicBezTo>
                  <a:pt x="0" y="405"/>
                  <a:pt x="6" y="464"/>
                  <a:pt x="36" y="516"/>
                </a:cubicBezTo>
                <a:cubicBezTo>
                  <a:pt x="66" y="568"/>
                  <a:pt x="114" y="602"/>
                  <a:pt x="167" y="617"/>
                </a:cubicBezTo>
                <a:cubicBezTo>
                  <a:pt x="221" y="631"/>
                  <a:pt x="280" y="625"/>
                  <a:pt x="331" y="595"/>
                </a:cubicBezTo>
                <a:lnTo>
                  <a:pt x="498" y="499"/>
                </a:lnTo>
                <a:lnTo>
                  <a:pt x="498" y="0"/>
                </a:lnTo>
                <a:lnTo>
                  <a:pt x="115" y="221"/>
                </a:lnTo>
                <a:cubicBezTo>
                  <a:pt x="64" y="251"/>
                  <a:pt x="29" y="299"/>
                  <a:pt x="15" y="352"/>
                </a:cubicBezTo>
              </a:path>
            </a:pathLst>
          </a:custGeom>
          <a:solidFill>
            <a:schemeClr val="accent4"/>
          </a:solidFill>
          <a:ln>
            <a:noFill/>
          </a:ln>
          <a:effectLst/>
        </p:spPr>
        <p:txBody>
          <a:bodyPr wrap="none" anchor="ctr"/>
          <a:lstStyle/>
          <a:p>
            <a:endParaRPr dirty="0"/>
          </a:p>
        </p:txBody>
      </p:sp>
      <p:sp>
        <p:nvSpPr>
          <p:cNvPr id="17" name="Freeform 76">
            <a:extLst>
              <a:ext uri="{FF2B5EF4-FFF2-40B4-BE49-F238E27FC236}">
                <a16:creationId xmlns:a16="http://schemas.microsoft.com/office/drawing/2014/main" id="{8C16E441-DE46-4AD1-AC51-EA11737B68C6}"/>
              </a:ext>
            </a:extLst>
          </p:cNvPr>
          <p:cNvSpPr>
            <a:spLocks noChangeArrowheads="1"/>
          </p:cNvSpPr>
          <p:nvPr/>
        </p:nvSpPr>
        <p:spPr bwMode="auto">
          <a:xfrm>
            <a:off x="4477926" y="0"/>
            <a:ext cx="3988741" cy="1712142"/>
          </a:xfrm>
          <a:custGeom>
            <a:avLst/>
            <a:gdLst>
              <a:gd name="T0" fmla="*/ 50 w 934"/>
              <a:gd name="T1" fmla="*/ 260 h 400"/>
              <a:gd name="T2" fmla="*/ 345 w 934"/>
              <a:gd name="T3" fmla="*/ 339 h 400"/>
              <a:gd name="T4" fmla="*/ 933 w 934"/>
              <a:gd name="T5" fmla="*/ 0 h 400"/>
              <a:gd name="T6" fmla="*/ 84 w 934"/>
              <a:gd name="T7" fmla="*/ 0 h 400"/>
              <a:gd name="T8" fmla="*/ 50 w 934"/>
              <a:gd name="T9" fmla="*/ 260 h 400"/>
            </a:gdLst>
            <a:ahLst/>
            <a:cxnLst>
              <a:cxn ang="0">
                <a:pos x="T0" y="T1"/>
              </a:cxn>
              <a:cxn ang="0">
                <a:pos x="T2" y="T3"/>
              </a:cxn>
              <a:cxn ang="0">
                <a:pos x="T4" y="T5"/>
              </a:cxn>
              <a:cxn ang="0">
                <a:pos x="T6" y="T7"/>
              </a:cxn>
              <a:cxn ang="0">
                <a:pos x="T8" y="T9"/>
              </a:cxn>
            </a:cxnLst>
            <a:rect l="0" t="0" r="r" b="b"/>
            <a:pathLst>
              <a:path w="934" h="400">
                <a:moveTo>
                  <a:pt x="50" y="260"/>
                </a:moveTo>
                <a:cubicBezTo>
                  <a:pt x="110" y="363"/>
                  <a:pt x="242" y="399"/>
                  <a:pt x="345" y="339"/>
                </a:cubicBezTo>
                <a:lnTo>
                  <a:pt x="933" y="0"/>
                </a:lnTo>
                <a:lnTo>
                  <a:pt x="84" y="0"/>
                </a:lnTo>
                <a:cubicBezTo>
                  <a:pt x="17" y="67"/>
                  <a:pt x="0" y="174"/>
                  <a:pt x="50" y="260"/>
                </a:cubicBezTo>
              </a:path>
            </a:pathLst>
          </a:custGeom>
          <a:solidFill>
            <a:schemeClr val="accent1"/>
          </a:solidFill>
          <a:ln>
            <a:noFill/>
          </a:ln>
          <a:effectLst/>
        </p:spPr>
        <p:txBody>
          <a:bodyPr wrap="none" anchor="ctr"/>
          <a:lstStyle/>
          <a:p>
            <a:endParaRPr dirty="0"/>
          </a:p>
        </p:txBody>
      </p:sp>
      <p:sp>
        <p:nvSpPr>
          <p:cNvPr id="2" name="Title 1">
            <a:extLst>
              <a:ext uri="{FF2B5EF4-FFF2-40B4-BE49-F238E27FC236}">
                <a16:creationId xmlns:a16="http://schemas.microsoft.com/office/drawing/2014/main" id="{EC9DBBEB-CFD6-4E01-A45F-4CB0419CF96A}"/>
              </a:ext>
            </a:extLst>
          </p:cNvPr>
          <p:cNvSpPr>
            <a:spLocks noGrp="1"/>
          </p:cNvSpPr>
          <p:nvPr userDrawn="1">
            <p:ph type="title"/>
          </p:nvPr>
        </p:nvSpPr>
        <p:spPr>
          <a:xfrm>
            <a:off x="1343025" y="2083034"/>
            <a:ext cx="7200900" cy="1612666"/>
          </a:xfrm>
        </p:spPr>
        <p:txBody>
          <a:bodyPr vert="horz" lIns="0" tIns="0" rIns="0" bIns="0" rtlCol="0" anchor="t" anchorCtr="0">
            <a:normAutofit/>
          </a:bodyPr>
          <a:lstStyle>
            <a:lvl1pPr marL="0" indent="0">
              <a:buFont typeface="Arial" panose="020B0604020202020204" pitchFamily="34" charset="0"/>
              <a:buNone/>
              <a:defRPr lang="en-GB" sz="5400" dirty="0"/>
            </a:lvl1pPr>
          </a:lstStyle>
          <a:p>
            <a:pPr lvl="0"/>
            <a:r>
              <a:rPr lang="en-US"/>
              <a:t>Click to edit Master title style</a:t>
            </a:r>
            <a:endParaRPr lang="en-GB" dirty="0"/>
          </a:p>
        </p:txBody>
      </p:sp>
      <p:sp>
        <p:nvSpPr>
          <p:cNvPr id="3" name="Text Placeholder 2">
            <a:extLst>
              <a:ext uri="{FF2B5EF4-FFF2-40B4-BE49-F238E27FC236}">
                <a16:creationId xmlns:a16="http://schemas.microsoft.com/office/drawing/2014/main" id="{278E103B-4121-4BCA-89E5-49B0F4DAAC9B}"/>
              </a:ext>
            </a:extLst>
          </p:cNvPr>
          <p:cNvSpPr>
            <a:spLocks noGrp="1"/>
          </p:cNvSpPr>
          <p:nvPr userDrawn="1">
            <p:ph type="body" idx="1"/>
          </p:nvPr>
        </p:nvSpPr>
        <p:spPr>
          <a:xfrm>
            <a:off x="1343025" y="3066707"/>
            <a:ext cx="7200900" cy="1154381"/>
          </a:xfrm>
        </p:spPr>
        <p:txBody>
          <a:bodyPr vert="horz" lIns="0" tIns="0" rIns="0" bIns="0" rtlCol="0" anchor="t" anchorCtr="0">
            <a:normAutofit/>
          </a:bodyPr>
          <a:lstStyle>
            <a:lvl1pPr marL="0" indent="0">
              <a:spcBef>
                <a:spcPts val="0"/>
              </a:spcBef>
              <a:buNone/>
              <a:defRPr lang="en-US" sz="2800" smtClean="0">
                <a:solidFill>
                  <a:schemeClr val="accent2"/>
                </a:solidFill>
              </a:defRPr>
            </a:lvl1pPr>
          </a:lstStyle>
          <a:p>
            <a:pPr marL="228600" lvl="0" indent="-228600">
              <a:spcAft>
                <a:spcPts val="0"/>
              </a:spcAft>
            </a:pPr>
            <a:r>
              <a:rPr lang="en-US"/>
              <a:t>Click to edit Master text styles</a:t>
            </a:r>
          </a:p>
        </p:txBody>
      </p:sp>
    </p:spTree>
    <p:extLst>
      <p:ext uri="{BB962C8B-B14F-4D97-AF65-F5344CB8AC3E}">
        <p14:creationId xmlns:p14="http://schemas.microsoft.com/office/powerpoint/2010/main" val="2037606790"/>
      </p:ext>
    </p:extLst>
  </p:cSld>
  <p:clrMapOvr>
    <a:masterClrMapping/>
  </p:clrMapOvr>
  <p:extLst>
    <p:ext uri="{DCECCB84-F9BA-43D5-87BE-67443E8EF086}">
      <p15:sldGuideLst xmlns:p15="http://schemas.microsoft.com/office/powerpoint/2012/main">
        <p15:guide id="1" pos="846" userDrawn="1">
          <p15:clr>
            <a:srgbClr val="FBAE40"/>
          </p15:clr>
        </p15:guide>
        <p15:guide id="2" pos="5382"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all-out + image v1a">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3C38C040-C7F5-455F-9FDF-D67805C679F1}"/>
              </a:ext>
            </a:extLst>
          </p:cNvPr>
          <p:cNvSpPr>
            <a:spLocks noGrp="1"/>
          </p:cNvSpPr>
          <p:nvPr>
            <p:ph type="pic" sz="quarter" idx="11"/>
          </p:nvPr>
        </p:nvSpPr>
        <p:spPr>
          <a:xfrm>
            <a:off x="4693414" y="-2414"/>
            <a:ext cx="7498586" cy="6415974"/>
          </a:xfrm>
          <a:custGeom>
            <a:avLst/>
            <a:gdLst>
              <a:gd name="connsiteX0" fmla="*/ 0 w 7510462"/>
              <a:gd name="connsiteY0" fmla="*/ 3206750 h 6413500"/>
              <a:gd name="connsiteX1" fmla="*/ 3755231 w 7510462"/>
              <a:gd name="connsiteY1" fmla="*/ 0 h 6413500"/>
              <a:gd name="connsiteX2" fmla="*/ 7510462 w 7510462"/>
              <a:gd name="connsiteY2" fmla="*/ 0 h 6413500"/>
              <a:gd name="connsiteX3" fmla="*/ 7510462 w 7510462"/>
              <a:gd name="connsiteY3" fmla="*/ 3206750 h 6413500"/>
              <a:gd name="connsiteX4" fmla="*/ 3755231 w 7510462"/>
              <a:gd name="connsiteY4" fmla="*/ 6413500 h 6413500"/>
              <a:gd name="connsiteX5" fmla="*/ 0 w 7510462"/>
              <a:gd name="connsiteY5" fmla="*/ 3206750 h 6413500"/>
              <a:gd name="connsiteX0" fmla="*/ 2908 w 7513370"/>
              <a:gd name="connsiteY0" fmla="*/ 3206750 h 6401625"/>
              <a:gd name="connsiteX1" fmla="*/ 3758139 w 7513370"/>
              <a:gd name="connsiteY1" fmla="*/ 0 h 6401625"/>
              <a:gd name="connsiteX2" fmla="*/ 7513370 w 7513370"/>
              <a:gd name="connsiteY2" fmla="*/ 0 h 6401625"/>
              <a:gd name="connsiteX3" fmla="*/ 7513370 w 7513370"/>
              <a:gd name="connsiteY3" fmla="*/ 3206750 h 6401625"/>
              <a:gd name="connsiteX4" fmla="*/ 3318752 w 7513370"/>
              <a:gd name="connsiteY4" fmla="*/ 6401625 h 6401625"/>
              <a:gd name="connsiteX5" fmla="*/ 2908 w 7513370"/>
              <a:gd name="connsiteY5" fmla="*/ 3206750 h 6401625"/>
              <a:gd name="connsiteX0" fmla="*/ 1834 w 7512296"/>
              <a:gd name="connsiteY0" fmla="*/ 3206750 h 6465504"/>
              <a:gd name="connsiteX1" fmla="*/ 3757065 w 7512296"/>
              <a:gd name="connsiteY1" fmla="*/ 0 h 6465504"/>
              <a:gd name="connsiteX2" fmla="*/ 7512296 w 7512296"/>
              <a:gd name="connsiteY2" fmla="*/ 0 h 6465504"/>
              <a:gd name="connsiteX3" fmla="*/ 7512296 w 7512296"/>
              <a:gd name="connsiteY3" fmla="*/ 4548662 h 6465504"/>
              <a:gd name="connsiteX4" fmla="*/ 3317678 w 7512296"/>
              <a:gd name="connsiteY4" fmla="*/ 6401625 h 6465504"/>
              <a:gd name="connsiteX5" fmla="*/ 1834 w 7512296"/>
              <a:gd name="connsiteY5" fmla="*/ 3206750 h 6465504"/>
              <a:gd name="connsiteX0" fmla="*/ 1834 w 7512296"/>
              <a:gd name="connsiteY0" fmla="*/ 3206750 h 6433966"/>
              <a:gd name="connsiteX1" fmla="*/ 3757065 w 7512296"/>
              <a:gd name="connsiteY1" fmla="*/ 0 h 6433966"/>
              <a:gd name="connsiteX2" fmla="*/ 7512296 w 7512296"/>
              <a:gd name="connsiteY2" fmla="*/ 0 h 6433966"/>
              <a:gd name="connsiteX3" fmla="*/ 7512296 w 7512296"/>
              <a:gd name="connsiteY3" fmla="*/ 4548662 h 6433966"/>
              <a:gd name="connsiteX4" fmla="*/ 3317678 w 7512296"/>
              <a:gd name="connsiteY4" fmla="*/ 6401625 h 6433966"/>
              <a:gd name="connsiteX5" fmla="*/ 1834 w 7512296"/>
              <a:gd name="connsiteY5" fmla="*/ 3206750 h 6433966"/>
              <a:gd name="connsiteX0" fmla="*/ 1926 w 7512388"/>
              <a:gd name="connsiteY0" fmla="*/ 3206750 h 6401626"/>
              <a:gd name="connsiteX1" fmla="*/ 3757157 w 7512388"/>
              <a:gd name="connsiteY1" fmla="*/ 0 h 6401626"/>
              <a:gd name="connsiteX2" fmla="*/ 7512388 w 7512388"/>
              <a:gd name="connsiteY2" fmla="*/ 0 h 6401626"/>
              <a:gd name="connsiteX3" fmla="*/ 7512388 w 7512388"/>
              <a:gd name="connsiteY3" fmla="*/ 4548662 h 6401626"/>
              <a:gd name="connsiteX4" fmla="*/ 3317770 w 7512388"/>
              <a:gd name="connsiteY4" fmla="*/ 6401625 h 6401626"/>
              <a:gd name="connsiteX5" fmla="*/ 1926 w 7512388"/>
              <a:gd name="connsiteY5" fmla="*/ 3206750 h 6401626"/>
              <a:gd name="connsiteX0" fmla="*/ 2666 w 7513128"/>
              <a:gd name="connsiteY0" fmla="*/ 3206750 h 6425377"/>
              <a:gd name="connsiteX1" fmla="*/ 3757897 w 7513128"/>
              <a:gd name="connsiteY1" fmla="*/ 0 h 6425377"/>
              <a:gd name="connsiteX2" fmla="*/ 7513128 w 7513128"/>
              <a:gd name="connsiteY2" fmla="*/ 0 h 6425377"/>
              <a:gd name="connsiteX3" fmla="*/ 7513128 w 7513128"/>
              <a:gd name="connsiteY3" fmla="*/ 4548662 h 6425377"/>
              <a:gd name="connsiteX4" fmla="*/ 3247258 w 7513128"/>
              <a:gd name="connsiteY4" fmla="*/ 6425376 h 6425377"/>
              <a:gd name="connsiteX5" fmla="*/ 2666 w 7513128"/>
              <a:gd name="connsiteY5" fmla="*/ 3206750 h 6425377"/>
              <a:gd name="connsiteX0" fmla="*/ 2881 w 7513343"/>
              <a:gd name="connsiteY0" fmla="*/ 3206750 h 6425377"/>
              <a:gd name="connsiteX1" fmla="*/ 3758112 w 7513343"/>
              <a:gd name="connsiteY1" fmla="*/ 0 h 6425377"/>
              <a:gd name="connsiteX2" fmla="*/ 7513343 w 7513343"/>
              <a:gd name="connsiteY2" fmla="*/ 0 h 6425377"/>
              <a:gd name="connsiteX3" fmla="*/ 7513343 w 7513343"/>
              <a:gd name="connsiteY3" fmla="*/ 4548662 h 6425377"/>
              <a:gd name="connsiteX4" fmla="*/ 3247473 w 7513343"/>
              <a:gd name="connsiteY4" fmla="*/ 6425376 h 6425377"/>
              <a:gd name="connsiteX5" fmla="*/ 2881 w 7513343"/>
              <a:gd name="connsiteY5" fmla="*/ 3206750 h 6425377"/>
              <a:gd name="connsiteX0" fmla="*/ 2847 w 7513309"/>
              <a:gd name="connsiteY0" fmla="*/ 3206750 h 6425377"/>
              <a:gd name="connsiteX1" fmla="*/ 3758078 w 7513309"/>
              <a:gd name="connsiteY1" fmla="*/ 0 h 6425377"/>
              <a:gd name="connsiteX2" fmla="*/ 7513309 w 7513309"/>
              <a:gd name="connsiteY2" fmla="*/ 0 h 6425377"/>
              <a:gd name="connsiteX3" fmla="*/ 7513309 w 7513309"/>
              <a:gd name="connsiteY3" fmla="*/ 4548662 h 6425377"/>
              <a:gd name="connsiteX4" fmla="*/ 3247439 w 7513309"/>
              <a:gd name="connsiteY4" fmla="*/ 6425376 h 6425377"/>
              <a:gd name="connsiteX5" fmla="*/ 2847 w 7513309"/>
              <a:gd name="connsiteY5" fmla="*/ 3206750 h 6425377"/>
              <a:gd name="connsiteX0" fmla="*/ 2936 w 7513398"/>
              <a:gd name="connsiteY0" fmla="*/ 3206750 h 6425377"/>
              <a:gd name="connsiteX1" fmla="*/ 3758167 w 7513398"/>
              <a:gd name="connsiteY1" fmla="*/ 0 h 6425377"/>
              <a:gd name="connsiteX2" fmla="*/ 7513398 w 7513398"/>
              <a:gd name="connsiteY2" fmla="*/ 0 h 6425377"/>
              <a:gd name="connsiteX3" fmla="*/ 7513398 w 7513398"/>
              <a:gd name="connsiteY3" fmla="*/ 4548662 h 6425377"/>
              <a:gd name="connsiteX4" fmla="*/ 3247528 w 7513398"/>
              <a:gd name="connsiteY4" fmla="*/ 6425376 h 6425377"/>
              <a:gd name="connsiteX5" fmla="*/ 2936 w 7513398"/>
              <a:gd name="connsiteY5" fmla="*/ 3206750 h 6425377"/>
              <a:gd name="connsiteX0" fmla="*/ 113356 w 7623818"/>
              <a:gd name="connsiteY0" fmla="*/ 3206750 h 6425377"/>
              <a:gd name="connsiteX1" fmla="*/ 1909159 w 7623818"/>
              <a:gd name="connsiteY1" fmla="*/ 11876 h 6425377"/>
              <a:gd name="connsiteX2" fmla="*/ 7623818 w 7623818"/>
              <a:gd name="connsiteY2" fmla="*/ 0 h 6425377"/>
              <a:gd name="connsiteX3" fmla="*/ 7623818 w 7623818"/>
              <a:gd name="connsiteY3" fmla="*/ 4548662 h 6425377"/>
              <a:gd name="connsiteX4" fmla="*/ 3357948 w 7623818"/>
              <a:gd name="connsiteY4" fmla="*/ 6425376 h 6425377"/>
              <a:gd name="connsiteX5" fmla="*/ 113356 w 7623818"/>
              <a:gd name="connsiteY5" fmla="*/ 3206750 h 6425377"/>
              <a:gd name="connsiteX0" fmla="*/ 48773 w 7559235"/>
              <a:gd name="connsiteY0" fmla="*/ 3206750 h 6425377"/>
              <a:gd name="connsiteX1" fmla="*/ 1844576 w 7559235"/>
              <a:gd name="connsiteY1" fmla="*/ 11876 h 6425377"/>
              <a:gd name="connsiteX2" fmla="*/ 7559235 w 7559235"/>
              <a:gd name="connsiteY2" fmla="*/ 0 h 6425377"/>
              <a:gd name="connsiteX3" fmla="*/ 7559235 w 7559235"/>
              <a:gd name="connsiteY3" fmla="*/ 4548662 h 6425377"/>
              <a:gd name="connsiteX4" fmla="*/ 3293365 w 7559235"/>
              <a:gd name="connsiteY4" fmla="*/ 6425376 h 6425377"/>
              <a:gd name="connsiteX5" fmla="*/ 48773 w 7559235"/>
              <a:gd name="connsiteY5" fmla="*/ 3206750 h 6425377"/>
              <a:gd name="connsiteX0" fmla="*/ 28 w 7510490"/>
              <a:gd name="connsiteY0" fmla="*/ 3206750 h 6425377"/>
              <a:gd name="connsiteX1" fmla="*/ 1795831 w 7510490"/>
              <a:gd name="connsiteY1" fmla="*/ 11876 h 6425377"/>
              <a:gd name="connsiteX2" fmla="*/ 7510490 w 7510490"/>
              <a:gd name="connsiteY2" fmla="*/ 0 h 6425377"/>
              <a:gd name="connsiteX3" fmla="*/ 7510490 w 7510490"/>
              <a:gd name="connsiteY3" fmla="*/ 4548662 h 6425377"/>
              <a:gd name="connsiteX4" fmla="*/ 3244620 w 7510490"/>
              <a:gd name="connsiteY4" fmla="*/ 6425376 h 6425377"/>
              <a:gd name="connsiteX5" fmla="*/ 28 w 7510490"/>
              <a:gd name="connsiteY5" fmla="*/ 3206750 h 6425377"/>
              <a:gd name="connsiteX0" fmla="*/ 169 w 7510631"/>
              <a:gd name="connsiteY0" fmla="*/ 3206750 h 6425377"/>
              <a:gd name="connsiteX1" fmla="*/ 1795972 w 7510631"/>
              <a:gd name="connsiteY1" fmla="*/ 11876 h 6425377"/>
              <a:gd name="connsiteX2" fmla="*/ 7510631 w 7510631"/>
              <a:gd name="connsiteY2" fmla="*/ 0 h 6425377"/>
              <a:gd name="connsiteX3" fmla="*/ 7510631 w 7510631"/>
              <a:gd name="connsiteY3" fmla="*/ 4548662 h 6425377"/>
              <a:gd name="connsiteX4" fmla="*/ 3244761 w 7510631"/>
              <a:gd name="connsiteY4" fmla="*/ 6425376 h 6425377"/>
              <a:gd name="connsiteX5" fmla="*/ 169 w 7510631"/>
              <a:gd name="connsiteY5" fmla="*/ 3206750 h 6425377"/>
              <a:gd name="connsiteX0" fmla="*/ 28 w 7510490"/>
              <a:gd name="connsiteY0" fmla="*/ 3206750 h 6425377"/>
              <a:gd name="connsiteX1" fmla="*/ 1795831 w 7510490"/>
              <a:gd name="connsiteY1" fmla="*/ 11876 h 6425377"/>
              <a:gd name="connsiteX2" fmla="*/ 7510490 w 7510490"/>
              <a:gd name="connsiteY2" fmla="*/ 0 h 6425377"/>
              <a:gd name="connsiteX3" fmla="*/ 7510490 w 7510490"/>
              <a:gd name="connsiteY3" fmla="*/ 4548662 h 6425377"/>
              <a:gd name="connsiteX4" fmla="*/ 3244620 w 7510490"/>
              <a:gd name="connsiteY4" fmla="*/ 6425376 h 6425377"/>
              <a:gd name="connsiteX5" fmla="*/ 28 w 7510490"/>
              <a:gd name="connsiteY5" fmla="*/ 3206750 h 6425377"/>
              <a:gd name="connsiteX0" fmla="*/ 33 w 7510495"/>
              <a:gd name="connsiteY0" fmla="*/ 3206750 h 6425632"/>
              <a:gd name="connsiteX1" fmla="*/ 1795836 w 7510495"/>
              <a:gd name="connsiteY1" fmla="*/ 11876 h 6425632"/>
              <a:gd name="connsiteX2" fmla="*/ 7510495 w 7510495"/>
              <a:gd name="connsiteY2" fmla="*/ 0 h 6425632"/>
              <a:gd name="connsiteX3" fmla="*/ 7510495 w 7510495"/>
              <a:gd name="connsiteY3" fmla="*/ 4548662 h 6425632"/>
              <a:gd name="connsiteX4" fmla="*/ 3244625 w 7510495"/>
              <a:gd name="connsiteY4" fmla="*/ 6425376 h 6425632"/>
              <a:gd name="connsiteX5" fmla="*/ 33 w 7510495"/>
              <a:gd name="connsiteY5" fmla="*/ 3206750 h 6425632"/>
              <a:gd name="connsiteX0" fmla="*/ 32 w 7510494"/>
              <a:gd name="connsiteY0" fmla="*/ 3206750 h 6427368"/>
              <a:gd name="connsiteX1" fmla="*/ 1795835 w 7510494"/>
              <a:gd name="connsiteY1" fmla="*/ 11876 h 6427368"/>
              <a:gd name="connsiteX2" fmla="*/ 7510494 w 7510494"/>
              <a:gd name="connsiteY2" fmla="*/ 0 h 6427368"/>
              <a:gd name="connsiteX3" fmla="*/ 7510494 w 7510494"/>
              <a:gd name="connsiteY3" fmla="*/ 4548662 h 6427368"/>
              <a:gd name="connsiteX4" fmla="*/ 3244624 w 7510494"/>
              <a:gd name="connsiteY4" fmla="*/ 6425376 h 6427368"/>
              <a:gd name="connsiteX5" fmla="*/ 32 w 7510494"/>
              <a:gd name="connsiteY5" fmla="*/ 3206750 h 6427368"/>
              <a:gd name="connsiteX0" fmla="*/ 47590 w 7558052"/>
              <a:gd name="connsiteY0" fmla="*/ 3218624 h 6439018"/>
              <a:gd name="connsiteX1" fmla="*/ 1855268 w 7558052"/>
              <a:gd name="connsiteY1" fmla="*/ 0 h 6439018"/>
              <a:gd name="connsiteX2" fmla="*/ 7558052 w 7558052"/>
              <a:gd name="connsiteY2" fmla="*/ 11874 h 6439018"/>
              <a:gd name="connsiteX3" fmla="*/ 7558052 w 7558052"/>
              <a:gd name="connsiteY3" fmla="*/ 4560536 h 6439018"/>
              <a:gd name="connsiteX4" fmla="*/ 3292182 w 7558052"/>
              <a:gd name="connsiteY4" fmla="*/ 6437250 h 6439018"/>
              <a:gd name="connsiteX5" fmla="*/ 47590 w 7558052"/>
              <a:gd name="connsiteY5" fmla="*/ 3218624 h 6439018"/>
              <a:gd name="connsiteX0" fmla="*/ 45228 w 7555690"/>
              <a:gd name="connsiteY0" fmla="*/ 3218624 h 6439018"/>
              <a:gd name="connsiteX1" fmla="*/ 1852906 w 7555690"/>
              <a:gd name="connsiteY1" fmla="*/ 0 h 6439018"/>
              <a:gd name="connsiteX2" fmla="*/ 7555690 w 7555690"/>
              <a:gd name="connsiteY2" fmla="*/ 11874 h 6439018"/>
              <a:gd name="connsiteX3" fmla="*/ 7555690 w 7555690"/>
              <a:gd name="connsiteY3" fmla="*/ 4560536 h 6439018"/>
              <a:gd name="connsiteX4" fmla="*/ 3242319 w 7555690"/>
              <a:gd name="connsiteY4" fmla="*/ 6437250 h 6439018"/>
              <a:gd name="connsiteX5" fmla="*/ 45228 w 7555690"/>
              <a:gd name="connsiteY5" fmla="*/ 3218624 h 6439018"/>
              <a:gd name="connsiteX0" fmla="*/ 45228 w 7555690"/>
              <a:gd name="connsiteY0" fmla="*/ 3218624 h 6437316"/>
              <a:gd name="connsiteX1" fmla="*/ 1852906 w 7555690"/>
              <a:gd name="connsiteY1" fmla="*/ 0 h 6437316"/>
              <a:gd name="connsiteX2" fmla="*/ 7555690 w 7555690"/>
              <a:gd name="connsiteY2" fmla="*/ 11874 h 6437316"/>
              <a:gd name="connsiteX3" fmla="*/ 7555690 w 7555690"/>
              <a:gd name="connsiteY3" fmla="*/ 4560536 h 6437316"/>
              <a:gd name="connsiteX4" fmla="*/ 3242319 w 7555690"/>
              <a:gd name="connsiteY4" fmla="*/ 6437250 h 6437316"/>
              <a:gd name="connsiteX5" fmla="*/ 45228 w 7555690"/>
              <a:gd name="connsiteY5" fmla="*/ 3218624 h 6437316"/>
              <a:gd name="connsiteX0" fmla="*/ 44643 w 7555105"/>
              <a:gd name="connsiteY0" fmla="*/ 3218624 h 6437316"/>
              <a:gd name="connsiteX1" fmla="*/ 1852321 w 7555105"/>
              <a:gd name="connsiteY1" fmla="*/ 0 h 6437316"/>
              <a:gd name="connsiteX2" fmla="*/ 7555105 w 7555105"/>
              <a:gd name="connsiteY2" fmla="*/ 11874 h 6437316"/>
              <a:gd name="connsiteX3" fmla="*/ 7555105 w 7555105"/>
              <a:gd name="connsiteY3" fmla="*/ 4560536 h 6437316"/>
              <a:gd name="connsiteX4" fmla="*/ 3229859 w 7555105"/>
              <a:gd name="connsiteY4" fmla="*/ 6437250 h 6437316"/>
              <a:gd name="connsiteX5" fmla="*/ 44643 w 7555105"/>
              <a:gd name="connsiteY5" fmla="*/ 3218624 h 6437316"/>
              <a:gd name="connsiteX0" fmla="*/ 45201 w 7543787"/>
              <a:gd name="connsiteY0" fmla="*/ 3230499 h 6468500"/>
              <a:gd name="connsiteX1" fmla="*/ 1841003 w 7543787"/>
              <a:gd name="connsiteY1" fmla="*/ 0 h 6468500"/>
              <a:gd name="connsiteX2" fmla="*/ 7543787 w 7543787"/>
              <a:gd name="connsiteY2" fmla="*/ 11874 h 6468500"/>
              <a:gd name="connsiteX3" fmla="*/ 7543787 w 7543787"/>
              <a:gd name="connsiteY3" fmla="*/ 4560536 h 6468500"/>
              <a:gd name="connsiteX4" fmla="*/ 3218541 w 7543787"/>
              <a:gd name="connsiteY4" fmla="*/ 6437250 h 6468500"/>
              <a:gd name="connsiteX5" fmla="*/ 45201 w 7543787"/>
              <a:gd name="connsiteY5" fmla="*/ 3230499 h 6468500"/>
              <a:gd name="connsiteX0" fmla="*/ 1195 w 7499781"/>
              <a:gd name="connsiteY0" fmla="*/ 3230499 h 6468500"/>
              <a:gd name="connsiteX1" fmla="*/ 1796997 w 7499781"/>
              <a:gd name="connsiteY1" fmla="*/ 0 h 6468500"/>
              <a:gd name="connsiteX2" fmla="*/ 7499781 w 7499781"/>
              <a:gd name="connsiteY2" fmla="*/ 11874 h 6468500"/>
              <a:gd name="connsiteX3" fmla="*/ 7499781 w 7499781"/>
              <a:gd name="connsiteY3" fmla="*/ 4560536 h 6468500"/>
              <a:gd name="connsiteX4" fmla="*/ 3174535 w 7499781"/>
              <a:gd name="connsiteY4" fmla="*/ 6437250 h 6468500"/>
              <a:gd name="connsiteX5" fmla="*/ 1195 w 7499781"/>
              <a:gd name="connsiteY5" fmla="*/ 3230499 h 6468500"/>
              <a:gd name="connsiteX0" fmla="*/ 28 w 7498614"/>
              <a:gd name="connsiteY0" fmla="*/ 3230499 h 6468500"/>
              <a:gd name="connsiteX1" fmla="*/ 1795830 w 7498614"/>
              <a:gd name="connsiteY1" fmla="*/ 0 h 6468500"/>
              <a:gd name="connsiteX2" fmla="*/ 7498614 w 7498614"/>
              <a:gd name="connsiteY2" fmla="*/ 11874 h 6468500"/>
              <a:gd name="connsiteX3" fmla="*/ 7498614 w 7498614"/>
              <a:gd name="connsiteY3" fmla="*/ 4560536 h 6468500"/>
              <a:gd name="connsiteX4" fmla="*/ 3173368 w 7498614"/>
              <a:gd name="connsiteY4" fmla="*/ 6437250 h 6468500"/>
              <a:gd name="connsiteX5" fmla="*/ 28 w 7498614"/>
              <a:gd name="connsiteY5" fmla="*/ 3230499 h 6468500"/>
              <a:gd name="connsiteX0" fmla="*/ 28 w 7498614"/>
              <a:gd name="connsiteY0" fmla="*/ 3230499 h 6468500"/>
              <a:gd name="connsiteX1" fmla="*/ 1795830 w 7498614"/>
              <a:gd name="connsiteY1" fmla="*/ 0 h 6468500"/>
              <a:gd name="connsiteX2" fmla="*/ 7498614 w 7498614"/>
              <a:gd name="connsiteY2" fmla="*/ 11874 h 6468500"/>
              <a:gd name="connsiteX3" fmla="*/ 7498614 w 7498614"/>
              <a:gd name="connsiteY3" fmla="*/ 4560536 h 6468500"/>
              <a:gd name="connsiteX4" fmla="*/ 3173368 w 7498614"/>
              <a:gd name="connsiteY4" fmla="*/ 6437250 h 6468500"/>
              <a:gd name="connsiteX5" fmla="*/ 28 w 7498614"/>
              <a:gd name="connsiteY5" fmla="*/ 3230499 h 6468500"/>
              <a:gd name="connsiteX0" fmla="*/ 46977 w 7545563"/>
              <a:gd name="connsiteY0" fmla="*/ 3230499 h 6238451"/>
              <a:gd name="connsiteX1" fmla="*/ 1842779 w 7545563"/>
              <a:gd name="connsiteY1" fmla="*/ 0 h 6238451"/>
              <a:gd name="connsiteX2" fmla="*/ 7545563 w 7545563"/>
              <a:gd name="connsiteY2" fmla="*/ 11874 h 6238451"/>
              <a:gd name="connsiteX3" fmla="*/ 7545563 w 7545563"/>
              <a:gd name="connsiteY3" fmla="*/ 4560536 h 6238451"/>
              <a:gd name="connsiteX4" fmla="*/ 3255943 w 7545563"/>
              <a:gd name="connsiteY4" fmla="*/ 6199743 h 6238451"/>
              <a:gd name="connsiteX5" fmla="*/ 46977 w 7545563"/>
              <a:gd name="connsiteY5" fmla="*/ 3230499 h 6238451"/>
              <a:gd name="connsiteX0" fmla="*/ 47574 w 7546160"/>
              <a:gd name="connsiteY0" fmla="*/ 3230499 h 6445368"/>
              <a:gd name="connsiteX1" fmla="*/ 1843376 w 7546160"/>
              <a:gd name="connsiteY1" fmla="*/ 0 h 6445368"/>
              <a:gd name="connsiteX2" fmla="*/ 7546160 w 7546160"/>
              <a:gd name="connsiteY2" fmla="*/ 11874 h 6445368"/>
              <a:gd name="connsiteX3" fmla="*/ 7546160 w 7546160"/>
              <a:gd name="connsiteY3" fmla="*/ 4560536 h 6445368"/>
              <a:gd name="connsiteX4" fmla="*/ 3268415 w 7546160"/>
              <a:gd name="connsiteY4" fmla="*/ 6413499 h 6445368"/>
              <a:gd name="connsiteX5" fmla="*/ 47574 w 7546160"/>
              <a:gd name="connsiteY5" fmla="*/ 3230499 h 6445368"/>
              <a:gd name="connsiteX0" fmla="*/ 47574 w 7546160"/>
              <a:gd name="connsiteY0" fmla="*/ 3230499 h 6413560"/>
              <a:gd name="connsiteX1" fmla="*/ 1843376 w 7546160"/>
              <a:gd name="connsiteY1" fmla="*/ 0 h 6413560"/>
              <a:gd name="connsiteX2" fmla="*/ 7546160 w 7546160"/>
              <a:gd name="connsiteY2" fmla="*/ 11874 h 6413560"/>
              <a:gd name="connsiteX3" fmla="*/ 7546160 w 7546160"/>
              <a:gd name="connsiteY3" fmla="*/ 4560536 h 6413560"/>
              <a:gd name="connsiteX4" fmla="*/ 3268415 w 7546160"/>
              <a:gd name="connsiteY4" fmla="*/ 6413499 h 6413560"/>
              <a:gd name="connsiteX5" fmla="*/ 47574 w 7546160"/>
              <a:gd name="connsiteY5" fmla="*/ 3230499 h 6413560"/>
              <a:gd name="connsiteX0" fmla="*/ 0 w 7498586"/>
              <a:gd name="connsiteY0" fmla="*/ 3230499 h 6413560"/>
              <a:gd name="connsiteX1" fmla="*/ 1795802 w 7498586"/>
              <a:gd name="connsiteY1" fmla="*/ 0 h 6413560"/>
              <a:gd name="connsiteX2" fmla="*/ 7498586 w 7498586"/>
              <a:gd name="connsiteY2" fmla="*/ 11874 h 6413560"/>
              <a:gd name="connsiteX3" fmla="*/ 7498586 w 7498586"/>
              <a:gd name="connsiteY3" fmla="*/ 4560536 h 6413560"/>
              <a:gd name="connsiteX4" fmla="*/ 3220841 w 7498586"/>
              <a:gd name="connsiteY4" fmla="*/ 6413499 h 6413560"/>
              <a:gd name="connsiteX5" fmla="*/ 0 w 7498586"/>
              <a:gd name="connsiteY5" fmla="*/ 3230499 h 6413560"/>
              <a:gd name="connsiteX0" fmla="*/ 0 w 7498586"/>
              <a:gd name="connsiteY0" fmla="*/ 3230499 h 6413560"/>
              <a:gd name="connsiteX1" fmla="*/ 1795802 w 7498586"/>
              <a:gd name="connsiteY1" fmla="*/ 0 h 6413560"/>
              <a:gd name="connsiteX2" fmla="*/ 7498586 w 7498586"/>
              <a:gd name="connsiteY2" fmla="*/ 11874 h 6413560"/>
              <a:gd name="connsiteX3" fmla="*/ 7498586 w 7498586"/>
              <a:gd name="connsiteY3" fmla="*/ 4560536 h 6413560"/>
              <a:gd name="connsiteX4" fmla="*/ 3220841 w 7498586"/>
              <a:gd name="connsiteY4" fmla="*/ 6413499 h 6413560"/>
              <a:gd name="connsiteX5" fmla="*/ 0 w 7498586"/>
              <a:gd name="connsiteY5" fmla="*/ 3230499 h 6413560"/>
              <a:gd name="connsiteX0" fmla="*/ 0 w 7498586"/>
              <a:gd name="connsiteY0" fmla="*/ 3232913 h 6415974"/>
              <a:gd name="connsiteX1" fmla="*/ 1795802 w 7498586"/>
              <a:gd name="connsiteY1" fmla="*/ 2414 h 6415974"/>
              <a:gd name="connsiteX2" fmla="*/ 7493824 w 7498586"/>
              <a:gd name="connsiteY2" fmla="*/ 0 h 6415974"/>
              <a:gd name="connsiteX3" fmla="*/ 7498586 w 7498586"/>
              <a:gd name="connsiteY3" fmla="*/ 4562950 h 6415974"/>
              <a:gd name="connsiteX4" fmla="*/ 3220841 w 7498586"/>
              <a:gd name="connsiteY4" fmla="*/ 6415913 h 6415974"/>
              <a:gd name="connsiteX5" fmla="*/ 0 w 7498586"/>
              <a:gd name="connsiteY5" fmla="*/ 3232913 h 6415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498586" h="6415974">
                <a:moveTo>
                  <a:pt x="0" y="3232913"/>
                </a:moveTo>
                <a:cubicBezTo>
                  <a:pt x="0" y="1629608"/>
                  <a:pt x="564993" y="786186"/>
                  <a:pt x="1795802" y="2414"/>
                </a:cubicBezTo>
                <a:lnTo>
                  <a:pt x="7493824" y="0"/>
                </a:lnTo>
                <a:cubicBezTo>
                  <a:pt x="7493824" y="1516221"/>
                  <a:pt x="7498586" y="3046729"/>
                  <a:pt x="7498586" y="4562950"/>
                </a:cubicBezTo>
                <a:cubicBezTo>
                  <a:pt x="5646035" y="5668971"/>
                  <a:pt x="5052496" y="6423830"/>
                  <a:pt x="3220841" y="6415913"/>
                </a:cubicBezTo>
                <a:cubicBezTo>
                  <a:pt x="1389186" y="6407996"/>
                  <a:pt x="0" y="4836218"/>
                  <a:pt x="0" y="3232913"/>
                </a:cubicBezTo>
                <a:close/>
              </a:path>
            </a:pathLst>
          </a:custGeom>
          <a:solidFill>
            <a:schemeClr val="accent1">
              <a:alpha val="15000"/>
            </a:schemeClr>
          </a:solidFill>
        </p:spPr>
        <p:txBody>
          <a:bodyPr/>
          <a:lstStyle>
            <a:lvl1pPr marL="0" indent="0" algn="ctr">
              <a:buNone/>
              <a:defRPr>
                <a:solidFill>
                  <a:schemeClr val="accent2"/>
                </a:solidFill>
              </a:defRPr>
            </a:lvl1pPr>
          </a:lstStyle>
          <a:p>
            <a:r>
              <a:rPr lang="en-US"/>
              <a:t>Click icon to add picture</a:t>
            </a:r>
            <a:endParaRPr lang="en-GB" dirty="0"/>
          </a:p>
        </p:txBody>
      </p:sp>
      <p:sp>
        <p:nvSpPr>
          <p:cNvPr id="7" name="Slide Number Placeholder 6">
            <a:extLst>
              <a:ext uri="{FF2B5EF4-FFF2-40B4-BE49-F238E27FC236}">
                <a16:creationId xmlns:a16="http://schemas.microsoft.com/office/drawing/2014/main" id="{083AA513-3096-463D-86CC-9463654915BB}"/>
              </a:ext>
            </a:extLst>
          </p:cNvPr>
          <p:cNvSpPr>
            <a:spLocks noGrp="1"/>
          </p:cNvSpPr>
          <p:nvPr>
            <p:ph type="sldNum" sz="quarter" idx="14"/>
          </p:nvPr>
        </p:nvSpPr>
        <p:spPr>
          <a:xfrm>
            <a:off x="11278800" y="6400800"/>
            <a:ext cx="442800" cy="226800"/>
          </a:xfrm>
          <a:prstGeom prst="rect">
            <a:avLst/>
          </a:prstGeom>
        </p:spPr>
        <p:txBody>
          <a:bodyPr/>
          <a:lstStyle/>
          <a:p>
            <a:pPr algn="r">
              <a:lnSpc>
                <a:spcPts val="970"/>
              </a:lnSpc>
            </a:pPr>
            <a:fld id="{0B868178-02AE-42FC-958D-6B8F13B60175}" type="slidenum">
              <a:rPr lang="en-GB" smtClean="0"/>
              <a:pPr algn="r">
                <a:lnSpc>
                  <a:spcPts val="970"/>
                </a:lnSpc>
              </a:pPr>
              <a:t>‹#›</a:t>
            </a:fld>
            <a:endParaRPr lang="en-GB" sz="800" noProof="0">
              <a:solidFill>
                <a:schemeClr val="bg1"/>
              </a:solidFill>
            </a:endParaRPr>
          </a:p>
        </p:txBody>
      </p:sp>
      <p:sp>
        <p:nvSpPr>
          <p:cNvPr id="9" name="Freeform 128">
            <a:extLst>
              <a:ext uri="{FF2B5EF4-FFF2-40B4-BE49-F238E27FC236}">
                <a16:creationId xmlns:a16="http://schemas.microsoft.com/office/drawing/2014/main" id="{325003AB-491A-A547-8294-FDFB3099805E}"/>
              </a:ext>
            </a:extLst>
          </p:cNvPr>
          <p:cNvSpPr>
            <a:spLocks noChangeArrowheads="1"/>
          </p:cNvSpPr>
          <p:nvPr/>
        </p:nvSpPr>
        <p:spPr bwMode="auto">
          <a:xfrm>
            <a:off x="11095591" y="3421559"/>
            <a:ext cx="1096409" cy="1871451"/>
          </a:xfrm>
          <a:custGeom>
            <a:avLst/>
            <a:gdLst>
              <a:gd name="T0" fmla="*/ 139 w 257"/>
              <a:gd name="T1" fmla="*/ 31 h 438"/>
              <a:gd name="T2" fmla="*/ 59 w 257"/>
              <a:gd name="T3" fmla="*/ 326 h 438"/>
              <a:gd name="T4" fmla="*/ 256 w 257"/>
              <a:gd name="T5" fmla="*/ 433 h 438"/>
              <a:gd name="T6" fmla="*/ 256 w 257"/>
              <a:gd name="T7" fmla="*/ 2 h 438"/>
              <a:gd name="T8" fmla="*/ 139 w 257"/>
              <a:gd name="T9" fmla="*/ 31 h 438"/>
            </a:gdLst>
            <a:ahLst/>
            <a:cxnLst>
              <a:cxn ang="0">
                <a:pos x="T0" y="T1"/>
              </a:cxn>
              <a:cxn ang="0">
                <a:pos x="T2" y="T3"/>
              </a:cxn>
              <a:cxn ang="0">
                <a:pos x="T4" y="T5"/>
              </a:cxn>
              <a:cxn ang="0">
                <a:pos x="T6" y="T7"/>
              </a:cxn>
              <a:cxn ang="0">
                <a:pos x="T8" y="T9"/>
              </a:cxn>
            </a:cxnLst>
            <a:rect l="0" t="0" r="r" b="b"/>
            <a:pathLst>
              <a:path w="257" h="438">
                <a:moveTo>
                  <a:pt x="139" y="31"/>
                </a:moveTo>
                <a:cubicBezTo>
                  <a:pt x="35" y="90"/>
                  <a:pt x="0" y="222"/>
                  <a:pt x="59" y="326"/>
                </a:cubicBezTo>
                <a:cubicBezTo>
                  <a:pt x="101" y="398"/>
                  <a:pt x="178" y="437"/>
                  <a:pt x="256" y="433"/>
                </a:cubicBezTo>
                <a:lnTo>
                  <a:pt x="256" y="2"/>
                </a:lnTo>
                <a:cubicBezTo>
                  <a:pt x="217" y="0"/>
                  <a:pt x="176" y="9"/>
                  <a:pt x="139" y="31"/>
                </a:cubicBezTo>
              </a:path>
            </a:pathLst>
          </a:custGeom>
          <a:solidFill>
            <a:srgbClr val="00E6C7">
              <a:alpha val="70000"/>
            </a:srgb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2" name="Freeform 129">
            <a:extLst>
              <a:ext uri="{FF2B5EF4-FFF2-40B4-BE49-F238E27FC236}">
                <a16:creationId xmlns:a16="http://schemas.microsoft.com/office/drawing/2014/main" id="{C6AC55AE-3942-1C40-A820-EA8744B5C155}"/>
              </a:ext>
            </a:extLst>
          </p:cNvPr>
          <p:cNvSpPr>
            <a:spLocks noChangeArrowheads="1"/>
          </p:cNvSpPr>
          <p:nvPr/>
        </p:nvSpPr>
        <p:spPr bwMode="auto">
          <a:xfrm>
            <a:off x="4481600" y="0"/>
            <a:ext cx="2079397" cy="1569005"/>
          </a:xfrm>
          <a:custGeom>
            <a:avLst/>
            <a:gdLst>
              <a:gd name="T0" fmla="*/ 50 w 484"/>
              <a:gd name="T1" fmla="*/ 259 h 368"/>
              <a:gd name="T2" fmla="*/ 237 w 484"/>
              <a:gd name="T3" fmla="*/ 367 h 368"/>
              <a:gd name="T4" fmla="*/ 345 w 484"/>
              <a:gd name="T5" fmla="*/ 338 h 368"/>
              <a:gd name="T6" fmla="*/ 424 w 484"/>
              <a:gd name="T7" fmla="*/ 43 h 368"/>
              <a:gd name="T8" fmla="*/ 391 w 484"/>
              <a:gd name="T9" fmla="*/ 0 h 368"/>
              <a:gd name="T10" fmla="*/ 83 w 484"/>
              <a:gd name="T11" fmla="*/ 0 h 368"/>
              <a:gd name="T12" fmla="*/ 50 w 484"/>
              <a:gd name="T13" fmla="*/ 259 h 368"/>
              <a:gd name="T14" fmla="*/ 91 w 484"/>
              <a:gd name="T15" fmla="*/ 112 h 368"/>
              <a:gd name="T16" fmla="*/ 161 w 484"/>
              <a:gd name="T17" fmla="*/ 21 h 368"/>
              <a:gd name="T18" fmla="*/ 237 w 484"/>
              <a:gd name="T19" fmla="*/ 1 h 368"/>
              <a:gd name="T20" fmla="*/ 237 w 484"/>
              <a:gd name="T21" fmla="*/ 1 h 368"/>
              <a:gd name="T22" fmla="*/ 367 w 484"/>
              <a:gd name="T23" fmla="*/ 76 h 368"/>
              <a:gd name="T24" fmla="*/ 382 w 484"/>
              <a:gd name="T25" fmla="*/ 190 h 368"/>
              <a:gd name="T26" fmla="*/ 312 w 484"/>
              <a:gd name="T27" fmla="*/ 282 h 368"/>
              <a:gd name="T28" fmla="*/ 237 w 484"/>
              <a:gd name="T29" fmla="*/ 302 h 368"/>
              <a:gd name="T30" fmla="*/ 106 w 484"/>
              <a:gd name="T31" fmla="*/ 227 h 368"/>
              <a:gd name="T32" fmla="*/ 91 w 484"/>
              <a:gd name="T33" fmla="*/ 112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4" h="368">
                <a:moveTo>
                  <a:pt x="50" y="259"/>
                </a:moveTo>
                <a:cubicBezTo>
                  <a:pt x="90" y="329"/>
                  <a:pt x="162" y="367"/>
                  <a:pt x="237" y="367"/>
                </a:cubicBezTo>
                <a:cubicBezTo>
                  <a:pt x="274" y="367"/>
                  <a:pt x="311" y="358"/>
                  <a:pt x="345" y="338"/>
                </a:cubicBezTo>
                <a:cubicBezTo>
                  <a:pt x="448" y="279"/>
                  <a:pt x="483" y="147"/>
                  <a:pt x="424" y="43"/>
                </a:cubicBezTo>
                <a:cubicBezTo>
                  <a:pt x="414" y="27"/>
                  <a:pt x="403" y="13"/>
                  <a:pt x="391" y="0"/>
                </a:cubicBezTo>
                <a:lnTo>
                  <a:pt x="83" y="0"/>
                </a:lnTo>
                <a:cubicBezTo>
                  <a:pt x="16" y="67"/>
                  <a:pt x="0" y="173"/>
                  <a:pt x="50" y="259"/>
                </a:cubicBezTo>
                <a:close/>
                <a:moveTo>
                  <a:pt x="91" y="112"/>
                </a:moveTo>
                <a:cubicBezTo>
                  <a:pt x="102" y="73"/>
                  <a:pt x="127" y="41"/>
                  <a:pt x="161" y="21"/>
                </a:cubicBezTo>
                <a:cubicBezTo>
                  <a:pt x="184" y="8"/>
                  <a:pt x="210" y="1"/>
                  <a:pt x="237" y="1"/>
                </a:cubicBezTo>
                <a:lnTo>
                  <a:pt x="237" y="1"/>
                </a:lnTo>
                <a:cubicBezTo>
                  <a:pt x="290" y="1"/>
                  <a:pt x="340" y="30"/>
                  <a:pt x="367" y="76"/>
                </a:cubicBezTo>
                <a:cubicBezTo>
                  <a:pt x="387" y="111"/>
                  <a:pt x="393" y="151"/>
                  <a:pt x="382" y="190"/>
                </a:cubicBezTo>
                <a:cubicBezTo>
                  <a:pt x="372" y="229"/>
                  <a:pt x="347" y="262"/>
                  <a:pt x="312" y="282"/>
                </a:cubicBezTo>
                <a:cubicBezTo>
                  <a:pt x="289" y="295"/>
                  <a:pt x="263" y="302"/>
                  <a:pt x="237" y="302"/>
                </a:cubicBezTo>
                <a:cubicBezTo>
                  <a:pt x="183" y="302"/>
                  <a:pt x="133" y="273"/>
                  <a:pt x="106" y="227"/>
                </a:cubicBezTo>
                <a:cubicBezTo>
                  <a:pt x="86" y="192"/>
                  <a:pt x="81" y="151"/>
                  <a:pt x="91" y="112"/>
                </a:cubicBezTo>
                <a:close/>
              </a:path>
            </a:pathLst>
          </a:custGeom>
          <a:solidFill>
            <a:schemeClr val="accent3"/>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3" name="Freeform 130">
            <a:extLst>
              <a:ext uri="{FF2B5EF4-FFF2-40B4-BE49-F238E27FC236}">
                <a16:creationId xmlns:a16="http://schemas.microsoft.com/office/drawing/2014/main" id="{AAF2A540-04E2-454F-B889-3C5BEE459FD9}"/>
              </a:ext>
            </a:extLst>
          </p:cNvPr>
          <p:cNvSpPr>
            <a:spLocks noChangeArrowheads="1"/>
          </p:cNvSpPr>
          <p:nvPr/>
        </p:nvSpPr>
        <p:spPr bwMode="auto">
          <a:xfrm>
            <a:off x="5918274" y="5213380"/>
            <a:ext cx="3856336" cy="1644620"/>
          </a:xfrm>
          <a:custGeom>
            <a:avLst/>
            <a:gdLst>
              <a:gd name="T0" fmla="*/ 851 w 898"/>
              <a:gd name="T1" fmla="*/ 139 h 382"/>
              <a:gd name="T2" fmla="*/ 556 w 898"/>
              <a:gd name="T3" fmla="*/ 60 h 382"/>
              <a:gd name="T4" fmla="*/ 0 w 898"/>
              <a:gd name="T5" fmla="*/ 381 h 382"/>
              <a:gd name="T6" fmla="*/ 833 w 898"/>
              <a:gd name="T7" fmla="*/ 381 h 382"/>
              <a:gd name="T8" fmla="*/ 851 w 898"/>
              <a:gd name="T9" fmla="*/ 139 h 382"/>
            </a:gdLst>
            <a:ahLst/>
            <a:cxnLst>
              <a:cxn ang="0">
                <a:pos x="T0" y="T1"/>
              </a:cxn>
              <a:cxn ang="0">
                <a:pos x="T2" y="T3"/>
              </a:cxn>
              <a:cxn ang="0">
                <a:pos x="T4" y="T5"/>
              </a:cxn>
              <a:cxn ang="0">
                <a:pos x="T6" y="T7"/>
              </a:cxn>
              <a:cxn ang="0">
                <a:pos x="T8" y="T9"/>
              </a:cxn>
            </a:cxnLst>
            <a:rect l="0" t="0" r="r" b="b"/>
            <a:pathLst>
              <a:path w="898" h="382">
                <a:moveTo>
                  <a:pt x="851" y="139"/>
                </a:moveTo>
                <a:cubicBezTo>
                  <a:pt x="791" y="35"/>
                  <a:pt x="659" y="0"/>
                  <a:pt x="556" y="60"/>
                </a:cubicBezTo>
                <a:lnTo>
                  <a:pt x="0" y="381"/>
                </a:lnTo>
                <a:lnTo>
                  <a:pt x="833" y="381"/>
                </a:lnTo>
                <a:cubicBezTo>
                  <a:pt x="887" y="314"/>
                  <a:pt x="897" y="218"/>
                  <a:pt x="851" y="139"/>
                </a:cubicBezTo>
              </a:path>
            </a:pathLst>
          </a:custGeom>
          <a:solidFill>
            <a:srgbClr val="00E6C7">
              <a:alpha val="40000"/>
            </a:srgb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a:p>
        </p:txBody>
      </p:sp>
      <p:sp>
        <p:nvSpPr>
          <p:cNvPr id="14" name="Title 1">
            <a:extLst>
              <a:ext uri="{FF2B5EF4-FFF2-40B4-BE49-F238E27FC236}">
                <a16:creationId xmlns:a16="http://schemas.microsoft.com/office/drawing/2014/main" id="{ED878C1E-6FBA-4C79-A678-CC522AB6304C}"/>
              </a:ext>
            </a:extLst>
          </p:cNvPr>
          <p:cNvSpPr>
            <a:spLocks noGrp="1"/>
          </p:cNvSpPr>
          <p:nvPr userDrawn="1">
            <p:ph type="title"/>
          </p:nvPr>
        </p:nvSpPr>
        <p:spPr>
          <a:xfrm>
            <a:off x="442913" y="1376363"/>
            <a:ext cx="4038687" cy="3245879"/>
          </a:xfrm>
        </p:spPr>
        <p:txBody>
          <a:bodyPr vert="horz" lIns="0" tIns="0" rIns="0" bIns="0" rtlCol="0" anchor="t" anchorCtr="0">
            <a:normAutofit/>
          </a:bodyPr>
          <a:lstStyle>
            <a:lvl1pPr marL="0" indent="0">
              <a:buFont typeface="Arial" panose="020B0604020202020204" pitchFamily="34" charset="0"/>
              <a:buNone/>
              <a:defRPr lang="en-GB" sz="5400" dirty="0"/>
            </a:lvl1pPr>
          </a:lstStyle>
          <a:p>
            <a:pPr lvl="0"/>
            <a:r>
              <a:rPr lang="en-US"/>
              <a:t>Click to edit Master title style</a:t>
            </a:r>
            <a:endParaRPr lang="en-GB" dirty="0"/>
          </a:p>
        </p:txBody>
      </p:sp>
      <p:sp>
        <p:nvSpPr>
          <p:cNvPr id="15" name="Text Placeholder 2">
            <a:extLst>
              <a:ext uri="{FF2B5EF4-FFF2-40B4-BE49-F238E27FC236}">
                <a16:creationId xmlns:a16="http://schemas.microsoft.com/office/drawing/2014/main" id="{1954511D-8D7B-47B9-BEAF-9346F271E02D}"/>
              </a:ext>
            </a:extLst>
          </p:cNvPr>
          <p:cNvSpPr>
            <a:spLocks noGrp="1"/>
          </p:cNvSpPr>
          <p:nvPr userDrawn="1">
            <p:ph type="body" idx="1"/>
          </p:nvPr>
        </p:nvSpPr>
        <p:spPr>
          <a:xfrm>
            <a:off x="442913" y="444440"/>
            <a:ext cx="4038687" cy="931923"/>
          </a:xfrm>
        </p:spPr>
        <p:txBody>
          <a:bodyPr vert="horz" lIns="0" tIns="0" rIns="0" bIns="0" rtlCol="0" anchor="t" anchorCtr="0">
            <a:normAutofit/>
          </a:bodyPr>
          <a:lstStyle>
            <a:lvl1pPr marL="0" indent="0">
              <a:buNone/>
              <a:defRPr lang="en-US" sz="2800" smtClean="0">
                <a:solidFill>
                  <a:schemeClr val="accent2"/>
                </a:solidFill>
              </a:defRPr>
            </a:lvl1pPr>
          </a:lstStyle>
          <a:p>
            <a:pPr marL="228600" lvl="0" indent="-228600">
              <a:spcAft>
                <a:spcPts val="0"/>
              </a:spcAft>
            </a:pPr>
            <a:r>
              <a:rPr lang="en-US"/>
              <a:t>Click to edit Master text styles</a:t>
            </a:r>
          </a:p>
        </p:txBody>
      </p:sp>
    </p:spTree>
    <p:extLst>
      <p:ext uri="{BB962C8B-B14F-4D97-AF65-F5344CB8AC3E}">
        <p14:creationId xmlns:p14="http://schemas.microsoft.com/office/powerpoint/2010/main" val="1692463178"/>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_Call-out + image v1a">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08EBF337-E117-074B-B54E-5B792BB844C5}"/>
              </a:ext>
            </a:extLst>
          </p:cNvPr>
          <p:cNvPicPr>
            <a:picLocks noChangeAspect="1"/>
          </p:cNvPicPr>
          <p:nvPr userDrawn="1"/>
        </p:nvPicPr>
        <p:blipFill>
          <a:blip r:embed="rId2"/>
          <a:stretch>
            <a:fillRect/>
          </a:stretch>
        </p:blipFill>
        <p:spPr>
          <a:xfrm>
            <a:off x="4699000" y="0"/>
            <a:ext cx="7493000" cy="6413500"/>
          </a:xfrm>
          <a:prstGeom prst="rect">
            <a:avLst/>
          </a:prstGeom>
        </p:spPr>
      </p:pic>
      <p:sp>
        <p:nvSpPr>
          <p:cNvPr id="7" name="Slide Number Placeholder 6">
            <a:extLst>
              <a:ext uri="{FF2B5EF4-FFF2-40B4-BE49-F238E27FC236}">
                <a16:creationId xmlns:a16="http://schemas.microsoft.com/office/drawing/2014/main" id="{083AA513-3096-463D-86CC-9463654915BB}"/>
              </a:ext>
            </a:extLst>
          </p:cNvPr>
          <p:cNvSpPr>
            <a:spLocks noGrp="1"/>
          </p:cNvSpPr>
          <p:nvPr>
            <p:ph type="sldNum" sz="quarter" idx="14"/>
          </p:nvPr>
        </p:nvSpPr>
        <p:spPr>
          <a:xfrm>
            <a:off x="11278800" y="6400800"/>
            <a:ext cx="442800" cy="226800"/>
          </a:xfrm>
          <a:prstGeom prst="rect">
            <a:avLst/>
          </a:prstGeom>
        </p:spPr>
        <p:txBody>
          <a:bodyPr/>
          <a:lstStyle/>
          <a:p>
            <a:pPr algn="r">
              <a:lnSpc>
                <a:spcPts val="970"/>
              </a:lnSpc>
            </a:pPr>
            <a:fld id="{0B868178-02AE-42FC-958D-6B8F13B60175}" type="slidenum">
              <a:rPr lang="en-GB" smtClean="0"/>
              <a:pPr algn="r">
                <a:lnSpc>
                  <a:spcPts val="970"/>
                </a:lnSpc>
              </a:pPr>
              <a:t>‹#›</a:t>
            </a:fld>
            <a:endParaRPr lang="en-GB" sz="800" noProof="0">
              <a:solidFill>
                <a:schemeClr val="bg1"/>
              </a:solidFill>
            </a:endParaRPr>
          </a:p>
        </p:txBody>
      </p:sp>
      <p:sp>
        <p:nvSpPr>
          <p:cNvPr id="9" name="Freeform 128">
            <a:extLst>
              <a:ext uri="{FF2B5EF4-FFF2-40B4-BE49-F238E27FC236}">
                <a16:creationId xmlns:a16="http://schemas.microsoft.com/office/drawing/2014/main" id="{325003AB-491A-A547-8294-FDFB3099805E}"/>
              </a:ext>
            </a:extLst>
          </p:cNvPr>
          <p:cNvSpPr>
            <a:spLocks noChangeArrowheads="1"/>
          </p:cNvSpPr>
          <p:nvPr/>
        </p:nvSpPr>
        <p:spPr bwMode="auto">
          <a:xfrm>
            <a:off x="11095591" y="3421559"/>
            <a:ext cx="1096409" cy="1871451"/>
          </a:xfrm>
          <a:custGeom>
            <a:avLst/>
            <a:gdLst>
              <a:gd name="T0" fmla="*/ 139 w 257"/>
              <a:gd name="T1" fmla="*/ 31 h 438"/>
              <a:gd name="T2" fmla="*/ 59 w 257"/>
              <a:gd name="T3" fmla="*/ 326 h 438"/>
              <a:gd name="T4" fmla="*/ 256 w 257"/>
              <a:gd name="T5" fmla="*/ 433 h 438"/>
              <a:gd name="T6" fmla="*/ 256 w 257"/>
              <a:gd name="T7" fmla="*/ 2 h 438"/>
              <a:gd name="T8" fmla="*/ 139 w 257"/>
              <a:gd name="T9" fmla="*/ 31 h 438"/>
            </a:gdLst>
            <a:ahLst/>
            <a:cxnLst>
              <a:cxn ang="0">
                <a:pos x="T0" y="T1"/>
              </a:cxn>
              <a:cxn ang="0">
                <a:pos x="T2" y="T3"/>
              </a:cxn>
              <a:cxn ang="0">
                <a:pos x="T4" y="T5"/>
              </a:cxn>
              <a:cxn ang="0">
                <a:pos x="T6" y="T7"/>
              </a:cxn>
              <a:cxn ang="0">
                <a:pos x="T8" y="T9"/>
              </a:cxn>
            </a:cxnLst>
            <a:rect l="0" t="0" r="r" b="b"/>
            <a:pathLst>
              <a:path w="257" h="438">
                <a:moveTo>
                  <a:pt x="139" y="31"/>
                </a:moveTo>
                <a:cubicBezTo>
                  <a:pt x="35" y="90"/>
                  <a:pt x="0" y="222"/>
                  <a:pt x="59" y="326"/>
                </a:cubicBezTo>
                <a:cubicBezTo>
                  <a:pt x="101" y="398"/>
                  <a:pt x="178" y="437"/>
                  <a:pt x="256" y="433"/>
                </a:cubicBezTo>
                <a:lnTo>
                  <a:pt x="256" y="2"/>
                </a:lnTo>
                <a:cubicBezTo>
                  <a:pt x="217" y="0"/>
                  <a:pt x="176" y="9"/>
                  <a:pt x="139" y="31"/>
                </a:cubicBezTo>
              </a:path>
            </a:pathLst>
          </a:custGeom>
          <a:solidFill>
            <a:schemeClr val="accent4">
              <a:alpha val="70000"/>
            </a:schemeClr>
          </a:solidFill>
          <a:ln>
            <a:noFill/>
          </a:ln>
          <a:effectLst/>
        </p:spPr>
        <p:txBody>
          <a:bodyPr wrap="none" anchor="ctr"/>
          <a:lstStyle/>
          <a:p>
            <a:endParaRPr dirty="0"/>
          </a:p>
        </p:txBody>
      </p:sp>
      <p:sp>
        <p:nvSpPr>
          <p:cNvPr id="12" name="Freeform 129">
            <a:extLst>
              <a:ext uri="{FF2B5EF4-FFF2-40B4-BE49-F238E27FC236}">
                <a16:creationId xmlns:a16="http://schemas.microsoft.com/office/drawing/2014/main" id="{C6AC55AE-3942-1C40-A820-EA8744B5C155}"/>
              </a:ext>
            </a:extLst>
          </p:cNvPr>
          <p:cNvSpPr>
            <a:spLocks noChangeArrowheads="1"/>
          </p:cNvSpPr>
          <p:nvPr/>
        </p:nvSpPr>
        <p:spPr bwMode="auto">
          <a:xfrm>
            <a:off x="4481600" y="0"/>
            <a:ext cx="2079397" cy="1569005"/>
          </a:xfrm>
          <a:custGeom>
            <a:avLst/>
            <a:gdLst>
              <a:gd name="T0" fmla="*/ 50 w 484"/>
              <a:gd name="T1" fmla="*/ 259 h 368"/>
              <a:gd name="T2" fmla="*/ 237 w 484"/>
              <a:gd name="T3" fmla="*/ 367 h 368"/>
              <a:gd name="T4" fmla="*/ 345 w 484"/>
              <a:gd name="T5" fmla="*/ 338 h 368"/>
              <a:gd name="T6" fmla="*/ 424 w 484"/>
              <a:gd name="T7" fmla="*/ 43 h 368"/>
              <a:gd name="T8" fmla="*/ 391 w 484"/>
              <a:gd name="T9" fmla="*/ 0 h 368"/>
              <a:gd name="T10" fmla="*/ 83 w 484"/>
              <a:gd name="T11" fmla="*/ 0 h 368"/>
              <a:gd name="T12" fmla="*/ 50 w 484"/>
              <a:gd name="T13" fmla="*/ 259 h 368"/>
              <a:gd name="T14" fmla="*/ 91 w 484"/>
              <a:gd name="T15" fmla="*/ 112 h 368"/>
              <a:gd name="T16" fmla="*/ 161 w 484"/>
              <a:gd name="T17" fmla="*/ 21 h 368"/>
              <a:gd name="T18" fmla="*/ 237 w 484"/>
              <a:gd name="T19" fmla="*/ 1 h 368"/>
              <a:gd name="T20" fmla="*/ 237 w 484"/>
              <a:gd name="T21" fmla="*/ 1 h 368"/>
              <a:gd name="T22" fmla="*/ 367 w 484"/>
              <a:gd name="T23" fmla="*/ 76 h 368"/>
              <a:gd name="T24" fmla="*/ 382 w 484"/>
              <a:gd name="T25" fmla="*/ 190 h 368"/>
              <a:gd name="T26" fmla="*/ 312 w 484"/>
              <a:gd name="T27" fmla="*/ 282 h 368"/>
              <a:gd name="T28" fmla="*/ 237 w 484"/>
              <a:gd name="T29" fmla="*/ 302 h 368"/>
              <a:gd name="T30" fmla="*/ 106 w 484"/>
              <a:gd name="T31" fmla="*/ 227 h 368"/>
              <a:gd name="T32" fmla="*/ 91 w 484"/>
              <a:gd name="T33" fmla="*/ 112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4" h="368">
                <a:moveTo>
                  <a:pt x="50" y="259"/>
                </a:moveTo>
                <a:cubicBezTo>
                  <a:pt x="90" y="329"/>
                  <a:pt x="162" y="367"/>
                  <a:pt x="237" y="367"/>
                </a:cubicBezTo>
                <a:cubicBezTo>
                  <a:pt x="274" y="367"/>
                  <a:pt x="311" y="358"/>
                  <a:pt x="345" y="338"/>
                </a:cubicBezTo>
                <a:cubicBezTo>
                  <a:pt x="448" y="279"/>
                  <a:pt x="483" y="147"/>
                  <a:pt x="424" y="43"/>
                </a:cubicBezTo>
                <a:cubicBezTo>
                  <a:pt x="414" y="27"/>
                  <a:pt x="403" y="13"/>
                  <a:pt x="391" y="0"/>
                </a:cubicBezTo>
                <a:lnTo>
                  <a:pt x="83" y="0"/>
                </a:lnTo>
                <a:cubicBezTo>
                  <a:pt x="16" y="67"/>
                  <a:pt x="0" y="173"/>
                  <a:pt x="50" y="259"/>
                </a:cubicBezTo>
                <a:close/>
                <a:moveTo>
                  <a:pt x="91" y="112"/>
                </a:moveTo>
                <a:cubicBezTo>
                  <a:pt x="102" y="73"/>
                  <a:pt x="127" y="41"/>
                  <a:pt x="161" y="21"/>
                </a:cubicBezTo>
                <a:cubicBezTo>
                  <a:pt x="184" y="8"/>
                  <a:pt x="210" y="1"/>
                  <a:pt x="237" y="1"/>
                </a:cubicBezTo>
                <a:lnTo>
                  <a:pt x="237" y="1"/>
                </a:lnTo>
                <a:cubicBezTo>
                  <a:pt x="290" y="1"/>
                  <a:pt x="340" y="30"/>
                  <a:pt x="367" y="76"/>
                </a:cubicBezTo>
                <a:cubicBezTo>
                  <a:pt x="387" y="111"/>
                  <a:pt x="393" y="151"/>
                  <a:pt x="382" y="190"/>
                </a:cubicBezTo>
                <a:cubicBezTo>
                  <a:pt x="372" y="229"/>
                  <a:pt x="347" y="262"/>
                  <a:pt x="312" y="282"/>
                </a:cubicBezTo>
                <a:cubicBezTo>
                  <a:pt x="289" y="295"/>
                  <a:pt x="263" y="302"/>
                  <a:pt x="237" y="302"/>
                </a:cubicBezTo>
                <a:cubicBezTo>
                  <a:pt x="183" y="302"/>
                  <a:pt x="133" y="273"/>
                  <a:pt x="106" y="227"/>
                </a:cubicBezTo>
                <a:cubicBezTo>
                  <a:pt x="86" y="192"/>
                  <a:pt x="81" y="151"/>
                  <a:pt x="91" y="112"/>
                </a:cubicBezTo>
                <a:close/>
              </a:path>
            </a:pathLst>
          </a:custGeom>
          <a:solidFill>
            <a:schemeClr val="accent1"/>
          </a:solidFill>
          <a:ln>
            <a:noFill/>
          </a:ln>
          <a:effectLst/>
        </p:spPr>
        <p:txBody>
          <a:bodyPr wrap="none" anchor="ctr"/>
          <a:lstStyle/>
          <a:p>
            <a:endParaRPr dirty="0"/>
          </a:p>
        </p:txBody>
      </p:sp>
      <p:sp>
        <p:nvSpPr>
          <p:cNvPr id="13" name="Freeform 130">
            <a:extLst>
              <a:ext uri="{FF2B5EF4-FFF2-40B4-BE49-F238E27FC236}">
                <a16:creationId xmlns:a16="http://schemas.microsoft.com/office/drawing/2014/main" id="{AAF2A540-04E2-454F-B889-3C5BEE459FD9}"/>
              </a:ext>
            </a:extLst>
          </p:cNvPr>
          <p:cNvSpPr>
            <a:spLocks noChangeArrowheads="1"/>
          </p:cNvSpPr>
          <p:nvPr/>
        </p:nvSpPr>
        <p:spPr bwMode="auto">
          <a:xfrm>
            <a:off x="5918274" y="5213380"/>
            <a:ext cx="3856336" cy="1644620"/>
          </a:xfrm>
          <a:custGeom>
            <a:avLst/>
            <a:gdLst>
              <a:gd name="T0" fmla="*/ 851 w 898"/>
              <a:gd name="T1" fmla="*/ 139 h 382"/>
              <a:gd name="T2" fmla="*/ 556 w 898"/>
              <a:gd name="T3" fmla="*/ 60 h 382"/>
              <a:gd name="T4" fmla="*/ 0 w 898"/>
              <a:gd name="T5" fmla="*/ 381 h 382"/>
              <a:gd name="T6" fmla="*/ 833 w 898"/>
              <a:gd name="T7" fmla="*/ 381 h 382"/>
              <a:gd name="T8" fmla="*/ 851 w 898"/>
              <a:gd name="T9" fmla="*/ 139 h 382"/>
            </a:gdLst>
            <a:ahLst/>
            <a:cxnLst>
              <a:cxn ang="0">
                <a:pos x="T0" y="T1"/>
              </a:cxn>
              <a:cxn ang="0">
                <a:pos x="T2" y="T3"/>
              </a:cxn>
              <a:cxn ang="0">
                <a:pos x="T4" y="T5"/>
              </a:cxn>
              <a:cxn ang="0">
                <a:pos x="T6" y="T7"/>
              </a:cxn>
              <a:cxn ang="0">
                <a:pos x="T8" y="T9"/>
              </a:cxn>
            </a:cxnLst>
            <a:rect l="0" t="0" r="r" b="b"/>
            <a:pathLst>
              <a:path w="898" h="382">
                <a:moveTo>
                  <a:pt x="851" y="139"/>
                </a:moveTo>
                <a:cubicBezTo>
                  <a:pt x="791" y="35"/>
                  <a:pt x="659" y="0"/>
                  <a:pt x="556" y="60"/>
                </a:cubicBezTo>
                <a:lnTo>
                  <a:pt x="0" y="381"/>
                </a:lnTo>
                <a:lnTo>
                  <a:pt x="833" y="381"/>
                </a:lnTo>
                <a:cubicBezTo>
                  <a:pt x="887" y="314"/>
                  <a:pt x="897" y="218"/>
                  <a:pt x="851" y="139"/>
                </a:cubicBezTo>
              </a:path>
            </a:pathLst>
          </a:custGeom>
          <a:solidFill>
            <a:schemeClr val="accent4">
              <a:alpha val="40000"/>
            </a:schemeClr>
          </a:solidFill>
          <a:ln>
            <a:noFill/>
          </a:ln>
          <a:effectLst/>
        </p:spPr>
        <p:txBody>
          <a:bodyPr wrap="none" anchor="ctr"/>
          <a:lstStyle/>
          <a:p>
            <a:endParaRPr/>
          </a:p>
        </p:txBody>
      </p:sp>
      <p:sp>
        <p:nvSpPr>
          <p:cNvPr id="14" name="Title 1">
            <a:extLst>
              <a:ext uri="{FF2B5EF4-FFF2-40B4-BE49-F238E27FC236}">
                <a16:creationId xmlns:a16="http://schemas.microsoft.com/office/drawing/2014/main" id="{ED878C1E-6FBA-4C79-A678-CC522AB6304C}"/>
              </a:ext>
            </a:extLst>
          </p:cNvPr>
          <p:cNvSpPr>
            <a:spLocks noGrp="1"/>
          </p:cNvSpPr>
          <p:nvPr userDrawn="1">
            <p:ph type="title"/>
          </p:nvPr>
        </p:nvSpPr>
        <p:spPr>
          <a:xfrm>
            <a:off x="442913" y="1376363"/>
            <a:ext cx="4038687" cy="3245879"/>
          </a:xfrm>
        </p:spPr>
        <p:txBody>
          <a:bodyPr vert="horz" lIns="0" tIns="0" rIns="0" bIns="0" rtlCol="0" anchor="t" anchorCtr="0">
            <a:normAutofit/>
          </a:bodyPr>
          <a:lstStyle>
            <a:lvl1pPr marL="0" indent="0">
              <a:buFont typeface="Arial" panose="020B0604020202020204" pitchFamily="34" charset="0"/>
              <a:buNone/>
              <a:defRPr lang="en-GB" sz="5400" dirty="0"/>
            </a:lvl1pPr>
          </a:lstStyle>
          <a:p>
            <a:pPr lvl="0"/>
            <a:r>
              <a:rPr lang="en-US"/>
              <a:t>Click to edit Master title style</a:t>
            </a:r>
            <a:endParaRPr lang="en-GB" dirty="0"/>
          </a:p>
        </p:txBody>
      </p:sp>
      <p:sp>
        <p:nvSpPr>
          <p:cNvPr id="15" name="Text Placeholder 2">
            <a:extLst>
              <a:ext uri="{FF2B5EF4-FFF2-40B4-BE49-F238E27FC236}">
                <a16:creationId xmlns:a16="http://schemas.microsoft.com/office/drawing/2014/main" id="{1954511D-8D7B-47B9-BEAF-9346F271E02D}"/>
              </a:ext>
            </a:extLst>
          </p:cNvPr>
          <p:cNvSpPr>
            <a:spLocks noGrp="1"/>
          </p:cNvSpPr>
          <p:nvPr userDrawn="1">
            <p:ph type="body" idx="1"/>
          </p:nvPr>
        </p:nvSpPr>
        <p:spPr>
          <a:xfrm>
            <a:off x="442913" y="444440"/>
            <a:ext cx="4038687" cy="931923"/>
          </a:xfrm>
        </p:spPr>
        <p:txBody>
          <a:bodyPr vert="horz" lIns="0" tIns="0" rIns="0" bIns="0" rtlCol="0" anchor="t" anchorCtr="0">
            <a:normAutofit/>
          </a:bodyPr>
          <a:lstStyle>
            <a:lvl1pPr marL="0" indent="0">
              <a:buNone/>
              <a:defRPr lang="en-US" sz="2800" smtClean="0">
                <a:solidFill>
                  <a:schemeClr val="accent2"/>
                </a:solidFill>
              </a:defRPr>
            </a:lvl1pPr>
          </a:lstStyle>
          <a:p>
            <a:pPr marL="228600" lvl="0" indent="-228600">
              <a:spcAft>
                <a:spcPts val="0"/>
              </a:spcAft>
            </a:pPr>
            <a:r>
              <a:rPr lang="en-US"/>
              <a:t>Click to edit Master text styles</a:t>
            </a:r>
          </a:p>
        </p:txBody>
      </p:sp>
    </p:spTree>
    <p:extLst>
      <p:ext uri="{BB962C8B-B14F-4D97-AF65-F5344CB8AC3E}">
        <p14:creationId xmlns:p14="http://schemas.microsoft.com/office/powerpoint/2010/main" val="932813962"/>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Call-out + image v1a">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53486890-8BCD-EB48-9611-14633A30D1D4}"/>
              </a:ext>
            </a:extLst>
          </p:cNvPr>
          <p:cNvPicPr>
            <a:picLocks noChangeAspect="1"/>
          </p:cNvPicPr>
          <p:nvPr userDrawn="1"/>
        </p:nvPicPr>
        <p:blipFill>
          <a:blip r:embed="rId2"/>
          <a:stretch>
            <a:fillRect/>
          </a:stretch>
        </p:blipFill>
        <p:spPr>
          <a:xfrm>
            <a:off x="4723680" y="-27384"/>
            <a:ext cx="7493000" cy="6413500"/>
          </a:xfrm>
          <a:prstGeom prst="rect">
            <a:avLst/>
          </a:prstGeom>
        </p:spPr>
      </p:pic>
      <p:sp>
        <p:nvSpPr>
          <p:cNvPr id="7" name="Slide Number Placeholder 6">
            <a:extLst>
              <a:ext uri="{FF2B5EF4-FFF2-40B4-BE49-F238E27FC236}">
                <a16:creationId xmlns:a16="http://schemas.microsoft.com/office/drawing/2014/main" id="{083AA513-3096-463D-86CC-9463654915BB}"/>
              </a:ext>
            </a:extLst>
          </p:cNvPr>
          <p:cNvSpPr>
            <a:spLocks noGrp="1"/>
          </p:cNvSpPr>
          <p:nvPr>
            <p:ph type="sldNum" sz="quarter" idx="14"/>
          </p:nvPr>
        </p:nvSpPr>
        <p:spPr>
          <a:xfrm>
            <a:off x="11278800" y="6400800"/>
            <a:ext cx="442800" cy="226800"/>
          </a:xfrm>
          <a:prstGeom prst="rect">
            <a:avLst/>
          </a:prstGeom>
        </p:spPr>
        <p:txBody>
          <a:bodyPr/>
          <a:lstStyle/>
          <a:p>
            <a:pPr algn="r">
              <a:lnSpc>
                <a:spcPts val="970"/>
              </a:lnSpc>
            </a:pPr>
            <a:fld id="{0B868178-02AE-42FC-958D-6B8F13B60175}" type="slidenum">
              <a:rPr lang="en-GB" smtClean="0"/>
              <a:pPr algn="r">
                <a:lnSpc>
                  <a:spcPts val="970"/>
                </a:lnSpc>
              </a:pPr>
              <a:t>‹#›</a:t>
            </a:fld>
            <a:endParaRPr lang="en-GB" sz="800" noProof="0">
              <a:solidFill>
                <a:schemeClr val="bg1"/>
              </a:solidFill>
            </a:endParaRPr>
          </a:p>
        </p:txBody>
      </p:sp>
      <p:sp>
        <p:nvSpPr>
          <p:cNvPr id="9" name="Freeform 128">
            <a:extLst>
              <a:ext uri="{FF2B5EF4-FFF2-40B4-BE49-F238E27FC236}">
                <a16:creationId xmlns:a16="http://schemas.microsoft.com/office/drawing/2014/main" id="{325003AB-491A-A547-8294-FDFB3099805E}"/>
              </a:ext>
            </a:extLst>
          </p:cNvPr>
          <p:cNvSpPr>
            <a:spLocks noChangeArrowheads="1"/>
          </p:cNvSpPr>
          <p:nvPr/>
        </p:nvSpPr>
        <p:spPr bwMode="auto">
          <a:xfrm>
            <a:off x="11095591" y="3421559"/>
            <a:ext cx="1096409" cy="1871451"/>
          </a:xfrm>
          <a:custGeom>
            <a:avLst/>
            <a:gdLst>
              <a:gd name="T0" fmla="*/ 139 w 257"/>
              <a:gd name="T1" fmla="*/ 31 h 438"/>
              <a:gd name="T2" fmla="*/ 59 w 257"/>
              <a:gd name="T3" fmla="*/ 326 h 438"/>
              <a:gd name="T4" fmla="*/ 256 w 257"/>
              <a:gd name="T5" fmla="*/ 433 h 438"/>
              <a:gd name="T6" fmla="*/ 256 w 257"/>
              <a:gd name="T7" fmla="*/ 2 h 438"/>
              <a:gd name="T8" fmla="*/ 139 w 257"/>
              <a:gd name="T9" fmla="*/ 31 h 438"/>
            </a:gdLst>
            <a:ahLst/>
            <a:cxnLst>
              <a:cxn ang="0">
                <a:pos x="T0" y="T1"/>
              </a:cxn>
              <a:cxn ang="0">
                <a:pos x="T2" y="T3"/>
              </a:cxn>
              <a:cxn ang="0">
                <a:pos x="T4" y="T5"/>
              </a:cxn>
              <a:cxn ang="0">
                <a:pos x="T6" y="T7"/>
              </a:cxn>
              <a:cxn ang="0">
                <a:pos x="T8" y="T9"/>
              </a:cxn>
            </a:cxnLst>
            <a:rect l="0" t="0" r="r" b="b"/>
            <a:pathLst>
              <a:path w="257" h="438">
                <a:moveTo>
                  <a:pt x="139" y="31"/>
                </a:moveTo>
                <a:cubicBezTo>
                  <a:pt x="35" y="90"/>
                  <a:pt x="0" y="222"/>
                  <a:pt x="59" y="326"/>
                </a:cubicBezTo>
                <a:cubicBezTo>
                  <a:pt x="101" y="398"/>
                  <a:pt x="178" y="437"/>
                  <a:pt x="256" y="433"/>
                </a:cubicBezTo>
                <a:lnTo>
                  <a:pt x="256" y="2"/>
                </a:lnTo>
                <a:cubicBezTo>
                  <a:pt x="217" y="0"/>
                  <a:pt x="176" y="9"/>
                  <a:pt x="139" y="31"/>
                </a:cubicBezTo>
              </a:path>
            </a:pathLst>
          </a:custGeom>
          <a:solidFill>
            <a:srgbClr val="00E6C7">
              <a:alpha val="70000"/>
            </a:srgb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2" name="Freeform 129">
            <a:extLst>
              <a:ext uri="{FF2B5EF4-FFF2-40B4-BE49-F238E27FC236}">
                <a16:creationId xmlns:a16="http://schemas.microsoft.com/office/drawing/2014/main" id="{C6AC55AE-3942-1C40-A820-EA8744B5C155}"/>
              </a:ext>
            </a:extLst>
          </p:cNvPr>
          <p:cNvSpPr>
            <a:spLocks noChangeArrowheads="1"/>
          </p:cNvSpPr>
          <p:nvPr/>
        </p:nvSpPr>
        <p:spPr bwMode="auto">
          <a:xfrm>
            <a:off x="4481600" y="0"/>
            <a:ext cx="2079397" cy="1569005"/>
          </a:xfrm>
          <a:custGeom>
            <a:avLst/>
            <a:gdLst>
              <a:gd name="T0" fmla="*/ 50 w 484"/>
              <a:gd name="T1" fmla="*/ 259 h 368"/>
              <a:gd name="T2" fmla="*/ 237 w 484"/>
              <a:gd name="T3" fmla="*/ 367 h 368"/>
              <a:gd name="T4" fmla="*/ 345 w 484"/>
              <a:gd name="T5" fmla="*/ 338 h 368"/>
              <a:gd name="T6" fmla="*/ 424 w 484"/>
              <a:gd name="T7" fmla="*/ 43 h 368"/>
              <a:gd name="T8" fmla="*/ 391 w 484"/>
              <a:gd name="T9" fmla="*/ 0 h 368"/>
              <a:gd name="T10" fmla="*/ 83 w 484"/>
              <a:gd name="T11" fmla="*/ 0 h 368"/>
              <a:gd name="T12" fmla="*/ 50 w 484"/>
              <a:gd name="T13" fmla="*/ 259 h 368"/>
              <a:gd name="T14" fmla="*/ 91 w 484"/>
              <a:gd name="T15" fmla="*/ 112 h 368"/>
              <a:gd name="T16" fmla="*/ 161 w 484"/>
              <a:gd name="T17" fmla="*/ 21 h 368"/>
              <a:gd name="T18" fmla="*/ 237 w 484"/>
              <a:gd name="T19" fmla="*/ 1 h 368"/>
              <a:gd name="T20" fmla="*/ 237 w 484"/>
              <a:gd name="T21" fmla="*/ 1 h 368"/>
              <a:gd name="T22" fmla="*/ 367 w 484"/>
              <a:gd name="T23" fmla="*/ 76 h 368"/>
              <a:gd name="T24" fmla="*/ 382 w 484"/>
              <a:gd name="T25" fmla="*/ 190 h 368"/>
              <a:gd name="T26" fmla="*/ 312 w 484"/>
              <a:gd name="T27" fmla="*/ 282 h 368"/>
              <a:gd name="T28" fmla="*/ 237 w 484"/>
              <a:gd name="T29" fmla="*/ 302 h 368"/>
              <a:gd name="T30" fmla="*/ 106 w 484"/>
              <a:gd name="T31" fmla="*/ 227 h 368"/>
              <a:gd name="T32" fmla="*/ 91 w 484"/>
              <a:gd name="T33" fmla="*/ 112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4" h="368">
                <a:moveTo>
                  <a:pt x="50" y="259"/>
                </a:moveTo>
                <a:cubicBezTo>
                  <a:pt x="90" y="329"/>
                  <a:pt x="162" y="367"/>
                  <a:pt x="237" y="367"/>
                </a:cubicBezTo>
                <a:cubicBezTo>
                  <a:pt x="274" y="367"/>
                  <a:pt x="311" y="358"/>
                  <a:pt x="345" y="338"/>
                </a:cubicBezTo>
                <a:cubicBezTo>
                  <a:pt x="448" y="279"/>
                  <a:pt x="483" y="147"/>
                  <a:pt x="424" y="43"/>
                </a:cubicBezTo>
                <a:cubicBezTo>
                  <a:pt x="414" y="27"/>
                  <a:pt x="403" y="13"/>
                  <a:pt x="391" y="0"/>
                </a:cubicBezTo>
                <a:lnTo>
                  <a:pt x="83" y="0"/>
                </a:lnTo>
                <a:cubicBezTo>
                  <a:pt x="16" y="67"/>
                  <a:pt x="0" y="173"/>
                  <a:pt x="50" y="259"/>
                </a:cubicBezTo>
                <a:close/>
                <a:moveTo>
                  <a:pt x="91" y="112"/>
                </a:moveTo>
                <a:cubicBezTo>
                  <a:pt x="102" y="73"/>
                  <a:pt x="127" y="41"/>
                  <a:pt x="161" y="21"/>
                </a:cubicBezTo>
                <a:cubicBezTo>
                  <a:pt x="184" y="8"/>
                  <a:pt x="210" y="1"/>
                  <a:pt x="237" y="1"/>
                </a:cubicBezTo>
                <a:lnTo>
                  <a:pt x="237" y="1"/>
                </a:lnTo>
                <a:cubicBezTo>
                  <a:pt x="290" y="1"/>
                  <a:pt x="340" y="30"/>
                  <a:pt x="367" y="76"/>
                </a:cubicBezTo>
                <a:cubicBezTo>
                  <a:pt x="387" y="111"/>
                  <a:pt x="393" y="151"/>
                  <a:pt x="382" y="190"/>
                </a:cubicBezTo>
                <a:cubicBezTo>
                  <a:pt x="372" y="229"/>
                  <a:pt x="347" y="262"/>
                  <a:pt x="312" y="282"/>
                </a:cubicBezTo>
                <a:cubicBezTo>
                  <a:pt x="289" y="295"/>
                  <a:pt x="263" y="302"/>
                  <a:pt x="237" y="302"/>
                </a:cubicBezTo>
                <a:cubicBezTo>
                  <a:pt x="183" y="302"/>
                  <a:pt x="133" y="273"/>
                  <a:pt x="106" y="227"/>
                </a:cubicBezTo>
                <a:cubicBezTo>
                  <a:pt x="86" y="192"/>
                  <a:pt x="81" y="151"/>
                  <a:pt x="91" y="112"/>
                </a:cubicBezTo>
                <a:close/>
              </a:path>
            </a:pathLst>
          </a:custGeom>
          <a:solidFill>
            <a:schemeClr val="accent3"/>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3" name="Freeform 130">
            <a:extLst>
              <a:ext uri="{FF2B5EF4-FFF2-40B4-BE49-F238E27FC236}">
                <a16:creationId xmlns:a16="http://schemas.microsoft.com/office/drawing/2014/main" id="{AAF2A540-04E2-454F-B889-3C5BEE459FD9}"/>
              </a:ext>
            </a:extLst>
          </p:cNvPr>
          <p:cNvSpPr>
            <a:spLocks noChangeArrowheads="1"/>
          </p:cNvSpPr>
          <p:nvPr/>
        </p:nvSpPr>
        <p:spPr bwMode="auto">
          <a:xfrm>
            <a:off x="5918274" y="5213380"/>
            <a:ext cx="3856336" cy="1644620"/>
          </a:xfrm>
          <a:custGeom>
            <a:avLst/>
            <a:gdLst>
              <a:gd name="T0" fmla="*/ 851 w 898"/>
              <a:gd name="T1" fmla="*/ 139 h 382"/>
              <a:gd name="T2" fmla="*/ 556 w 898"/>
              <a:gd name="T3" fmla="*/ 60 h 382"/>
              <a:gd name="T4" fmla="*/ 0 w 898"/>
              <a:gd name="T5" fmla="*/ 381 h 382"/>
              <a:gd name="T6" fmla="*/ 833 w 898"/>
              <a:gd name="T7" fmla="*/ 381 h 382"/>
              <a:gd name="T8" fmla="*/ 851 w 898"/>
              <a:gd name="T9" fmla="*/ 139 h 382"/>
            </a:gdLst>
            <a:ahLst/>
            <a:cxnLst>
              <a:cxn ang="0">
                <a:pos x="T0" y="T1"/>
              </a:cxn>
              <a:cxn ang="0">
                <a:pos x="T2" y="T3"/>
              </a:cxn>
              <a:cxn ang="0">
                <a:pos x="T4" y="T5"/>
              </a:cxn>
              <a:cxn ang="0">
                <a:pos x="T6" y="T7"/>
              </a:cxn>
              <a:cxn ang="0">
                <a:pos x="T8" y="T9"/>
              </a:cxn>
            </a:cxnLst>
            <a:rect l="0" t="0" r="r" b="b"/>
            <a:pathLst>
              <a:path w="898" h="382">
                <a:moveTo>
                  <a:pt x="851" y="139"/>
                </a:moveTo>
                <a:cubicBezTo>
                  <a:pt x="791" y="35"/>
                  <a:pt x="659" y="0"/>
                  <a:pt x="556" y="60"/>
                </a:cubicBezTo>
                <a:lnTo>
                  <a:pt x="0" y="381"/>
                </a:lnTo>
                <a:lnTo>
                  <a:pt x="833" y="381"/>
                </a:lnTo>
                <a:cubicBezTo>
                  <a:pt x="887" y="314"/>
                  <a:pt x="897" y="218"/>
                  <a:pt x="851" y="139"/>
                </a:cubicBezTo>
              </a:path>
            </a:pathLst>
          </a:custGeom>
          <a:solidFill>
            <a:srgbClr val="00E6C7">
              <a:alpha val="40000"/>
            </a:srgb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a:p>
        </p:txBody>
      </p:sp>
      <p:sp>
        <p:nvSpPr>
          <p:cNvPr id="14" name="Title 1">
            <a:extLst>
              <a:ext uri="{FF2B5EF4-FFF2-40B4-BE49-F238E27FC236}">
                <a16:creationId xmlns:a16="http://schemas.microsoft.com/office/drawing/2014/main" id="{ED878C1E-6FBA-4C79-A678-CC522AB6304C}"/>
              </a:ext>
            </a:extLst>
          </p:cNvPr>
          <p:cNvSpPr>
            <a:spLocks noGrp="1"/>
          </p:cNvSpPr>
          <p:nvPr userDrawn="1">
            <p:ph type="title"/>
          </p:nvPr>
        </p:nvSpPr>
        <p:spPr>
          <a:xfrm>
            <a:off x="442913" y="1376363"/>
            <a:ext cx="4038687" cy="3245879"/>
          </a:xfrm>
        </p:spPr>
        <p:txBody>
          <a:bodyPr vert="horz" lIns="0" tIns="0" rIns="0" bIns="0" rtlCol="0" anchor="t" anchorCtr="0">
            <a:normAutofit/>
          </a:bodyPr>
          <a:lstStyle>
            <a:lvl1pPr marL="0" indent="0">
              <a:buFont typeface="Arial" panose="020B0604020202020204" pitchFamily="34" charset="0"/>
              <a:buNone/>
              <a:defRPr lang="en-GB" sz="5400" dirty="0"/>
            </a:lvl1pPr>
          </a:lstStyle>
          <a:p>
            <a:pPr lvl="0"/>
            <a:r>
              <a:rPr lang="en-US"/>
              <a:t>Click to edit Master title style</a:t>
            </a:r>
            <a:endParaRPr lang="en-GB" dirty="0"/>
          </a:p>
        </p:txBody>
      </p:sp>
      <p:sp>
        <p:nvSpPr>
          <p:cNvPr id="15" name="Text Placeholder 2">
            <a:extLst>
              <a:ext uri="{FF2B5EF4-FFF2-40B4-BE49-F238E27FC236}">
                <a16:creationId xmlns:a16="http://schemas.microsoft.com/office/drawing/2014/main" id="{1954511D-8D7B-47B9-BEAF-9346F271E02D}"/>
              </a:ext>
            </a:extLst>
          </p:cNvPr>
          <p:cNvSpPr>
            <a:spLocks noGrp="1"/>
          </p:cNvSpPr>
          <p:nvPr userDrawn="1">
            <p:ph type="body" idx="1"/>
          </p:nvPr>
        </p:nvSpPr>
        <p:spPr>
          <a:xfrm>
            <a:off x="442913" y="444440"/>
            <a:ext cx="4038687" cy="931923"/>
          </a:xfrm>
        </p:spPr>
        <p:txBody>
          <a:bodyPr vert="horz" lIns="0" tIns="0" rIns="0" bIns="0" rtlCol="0" anchor="t" anchorCtr="0">
            <a:normAutofit/>
          </a:bodyPr>
          <a:lstStyle>
            <a:lvl1pPr marL="0" indent="0">
              <a:buNone/>
              <a:defRPr lang="en-US" sz="2800" smtClean="0">
                <a:solidFill>
                  <a:schemeClr val="accent2"/>
                </a:solidFill>
              </a:defRPr>
            </a:lvl1pPr>
          </a:lstStyle>
          <a:p>
            <a:pPr marL="228600" lvl="0" indent="-228600">
              <a:spcAft>
                <a:spcPts val="0"/>
              </a:spcAft>
            </a:pPr>
            <a:r>
              <a:rPr lang="en-US"/>
              <a:t>Click to edit Master text styles</a:t>
            </a:r>
          </a:p>
        </p:txBody>
      </p:sp>
    </p:spTree>
    <p:extLst>
      <p:ext uri="{BB962C8B-B14F-4D97-AF65-F5344CB8AC3E}">
        <p14:creationId xmlns:p14="http://schemas.microsoft.com/office/powerpoint/2010/main" val="2161399561"/>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Call-out + image v3a">
    <p:spTree>
      <p:nvGrpSpPr>
        <p:cNvPr id="1" name=""/>
        <p:cNvGrpSpPr/>
        <p:nvPr/>
      </p:nvGrpSpPr>
      <p:grpSpPr>
        <a:xfrm>
          <a:off x="0" y="0"/>
          <a:ext cx="0" cy="0"/>
          <a:chOff x="0" y="0"/>
          <a:chExt cx="0" cy="0"/>
        </a:xfrm>
      </p:grpSpPr>
      <p:sp>
        <p:nvSpPr>
          <p:cNvPr id="21" name="Picture Placeholder 3">
            <a:extLst>
              <a:ext uri="{FF2B5EF4-FFF2-40B4-BE49-F238E27FC236}">
                <a16:creationId xmlns:a16="http://schemas.microsoft.com/office/drawing/2014/main" id="{359688DA-B1B4-4DDB-AC4A-B8038A462122}"/>
              </a:ext>
            </a:extLst>
          </p:cNvPr>
          <p:cNvSpPr>
            <a:spLocks noGrp="1"/>
          </p:cNvSpPr>
          <p:nvPr>
            <p:ph type="pic" sz="quarter" idx="16"/>
          </p:nvPr>
        </p:nvSpPr>
        <p:spPr>
          <a:xfrm>
            <a:off x="5774400" y="457200"/>
            <a:ext cx="5974688" cy="5943600"/>
          </a:xfrm>
          <a:prstGeom prst="ellipse">
            <a:avLst/>
          </a:prstGeom>
          <a:solidFill>
            <a:schemeClr val="accent1">
              <a:alpha val="15000"/>
            </a:schemeClr>
          </a:solidFill>
        </p:spPr>
        <p:txBody>
          <a:bodyPr/>
          <a:lstStyle>
            <a:lvl1pPr marL="0" indent="0" algn="ctr">
              <a:buNone/>
              <a:defRPr>
                <a:solidFill>
                  <a:schemeClr val="accent2"/>
                </a:solidFill>
              </a:defRPr>
            </a:lvl1pPr>
          </a:lstStyle>
          <a:p>
            <a:r>
              <a:rPr lang="en-US"/>
              <a:t>Click icon to add picture</a:t>
            </a:r>
            <a:endParaRPr lang="en-GB"/>
          </a:p>
        </p:txBody>
      </p:sp>
      <p:sp>
        <p:nvSpPr>
          <p:cNvPr id="7" name="Slide Number Placeholder 6">
            <a:extLst>
              <a:ext uri="{FF2B5EF4-FFF2-40B4-BE49-F238E27FC236}">
                <a16:creationId xmlns:a16="http://schemas.microsoft.com/office/drawing/2014/main" id="{083AA513-3096-463D-86CC-9463654915BB}"/>
              </a:ext>
            </a:extLst>
          </p:cNvPr>
          <p:cNvSpPr>
            <a:spLocks noGrp="1"/>
          </p:cNvSpPr>
          <p:nvPr>
            <p:ph type="sldNum" sz="quarter" idx="14"/>
          </p:nvPr>
        </p:nvSpPr>
        <p:spPr>
          <a:xfrm>
            <a:off x="11278800" y="6400800"/>
            <a:ext cx="442800" cy="226800"/>
          </a:xfrm>
          <a:prstGeom prst="rect">
            <a:avLst/>
          </a:prstGeom>
        </p:spPr>
        <p:txBody>
          <a:bodyPr/>
          <a:lstStyle/>
          <a:p>
            <a:pPr algn="r">
              <a:lnSpc>
                <a:spcPts val="970"/>
              </a:lnSpc>
            </a:pPr>
            <a:fld id="{0B868178-02AE-42FC-958D-6B8F13B60175}" type="slidenum">
              <a:rPr lang="en-GB" smtClean="0"/>
              <a:pPr algn="r">
                <a:lnSpc>
                  <a:spcPts val="970"/>
                </a:lnSpc>
              </a:pPr>
              <a:t>‹#›</a:t>
            </a:fld>
            <a:endParaRPr lang="en-GB" sz="800" noProof="0">
              <a:solidFill>
                <a:schemeClr val="bg1"/>
              </a:solidFill>
            </a:endParaRPr>
          </a:p>
        </p:txBody>
      </p:sp>
      <p:sp>
        <p:nvSpPr>
          <p:cNvPr id="14" name="Title 1">
            <a:extLst>
              <a:ext uri="{FF2B5EF4-FFF2-40B4-BE49-F238E27FC236}">
                <a16:creationId xmlns:a16="http://schemas.microsoft.com/office/drawing/2014/main" id="{ED878C1E-6FBA-4C79-A678-CC522AB6304C}"/>
              </a:ext>
            </a:extLst>
          </p:cNvPr>
          <p:cNvSpPr>
            <a:spLocks noGrp="1"/>
          </p:cNvSpPr>
          <p:nvPr>
            <p:ph type="title"/>
          </p:nvPr>
        </p:nvSpPr>
        <p:spPr>
          <a:xfrm>
            <a:off x="442913" y="1376363"/>
            <a:ext cx="4038687" cy="3245879"/>
          </a:xfrm>
        </p:spPr>
        <p:txBody>
          <a:bodyPr vert="horz" lIns="0" tIns="0" rIns="0" bIns="0" rtlCol="0" anchor="t" anchorCtr="0">
            <a:normAutofit/>
          </a:bodyPr>
          <a:lstStyle>
            <a:lvl1pPr marL="0" indent="0">
              <a:buFont typeface="Arial" panose="020B0604020202020204" pitchFamily="34" charset="0"/>
              <a:buNone/>
              <a:defRPr lang="en-GB" sz="5400" dirty="0"/>
            </a:lvl1pPr>
          </a:lstStyle>
          <a:p>
            <a:pPr lvl="0"/>
            <a:r>
              <a:rPr lang="en-US"/>
              <a:t>Click to edit Master title style</a:t>
            </a:r>
            <a:endParaRPr lang="en-GB" dirty="0"/>
          </a:p>
        </p:txBody>
      </p:sp>
      <p:sp>
        <p:nvSpPr>
          <p:cNvPr id="15" name="Text Placeholder 2">
            <a:extLst>
              <a:ext uri="{FF2B5EF4-FFF2-40B4-BE49-F238E27FC236}">
                <a16:creationId xmlns:a16="http://schemas.microsoft.com/office/drawing/2014/main" id="{1954511D-8D7B-47B9-BEAF-9346F271E02D}"/>
              </a:ext>
            </a:extLst>
          </p:cNvPr>
          <p:cNvSpPr>
            <a:spLocks noGrp="1"/>
          </p:cNvSpPr>
          <p:nvPr>
            <p:ph type="body" idx="1"/>
          </p:nvPr>
        </p:nvSpPr>
        <p:spPr>
          <a:xfrm>
            <a:off x="442913" y="444440"/>
            <a:ext cx="4038687" cy="931923"/>
          </a:xfrm>
        </p:spPr>
        <p:txBody>
          <a:bodyPr vert="horz" lIns="0" tIns="0" rIns="0" bIns="0" rtlCol="0" anchor="t" anchorCtr="0">
            <a:normAutofit/>
          </a:bodyPr>
          <a:lstStyle>
            <a:lvl1pPr marL="0" indent="0">
              <a:buNone/>
              <a:defRPr lang="en-US" sz="2800" smtClean="0">
                <a:solidFill>
                  <a:schemeClr val="accent2"/>
                </a:solidFill>
              </a:defRPr>
            </a:lvl1pPr>
          </a:lstStyle>
          <a:p>
            <a:pPr marL="228600" lvl="0" indent="-228600">
              <a:spcAft>
                <a:spcPts val="0"/>
              </a:spcAft>
            </a:pPr>
            <a:r>
              <a:rPr lang="en-US"/>
              <a:t>Click to edit Master text styles</a:t>
            </a:r>
          </a:p>
        </p:txBody>
      </p:sp>
      <p:sp>
        <p:nvSpPr>
          <p:cNvPr id="18" name="Freeform 128">
            <a:extLst>
              <a:ext uri="{FF2B5EF4-FFF2-40B4-BE49-F238E27FC236}">
                <a16:creationId xmlns:a16="http://schemas.microsoft.com/office/drawing/2014/main" id="{CE295A9A-F92C-4761-AAD6-4B1B875F0FD1}"/>
              </a:ext>
            </a:extLst>
          </p:cNvPr>
          <p:cNvSpPr>
            <a:spLocks noChangeArrowheads="1"/>
          </p:cNvSpPr>
          <p:nvPr/>
        </p:nvSpPr>
        <p:spPr bwMode="auto">
          <a:xfrm>
            <a:off x="11100115" y="3395569"/>
            <a:ext cx="1091885" cy="1863730"/>
          </a:xfrm>
          <a:custGeom>
            <a:avLst/>
            <a:gdLst>
              <a:gd name="T0" fmla="*/ 139 w 257"/>
              <a:gd name="T1" fmla="*/ 31 h 438"/>
              <a:gd name="T2" fmla="*/ 59 w 257"/>
              <a:gd name="T3" fmla="*/ 326 h 438"/>
              <a:gd name="T4" fmla="*/ 256 w 257"/>
              <a:gd name="T5" fmla="*/ 433 h 438"/>
              <a:gd name="T6" fmla="*/ 256 w 257"/>
              <a:gd name="T7" fmla="*/ 2 h 438"/>
              <a:gd name="T8" fmla="*/ 139 w 257"/>
              <a:gd name="T9" fmla="*/ 31 h 438"/>
            </a:gdLst>
            <a:ahLst/>
            <a:cxnLst>
              <a:cxn ang="0">
                <a:pos x="T0" y="T1"/>
              </a:cxn>
              <a:cxn ang="0">
                <a:pos x="T2" y="T3"/>
              </a:cxn>
              <a:cxn ang="0">
                <a:pos x="T4" y="T5"/>
              </a:cxn>
              <a:cxn ang="0">
                <a:pos x="T6" y="T7"/>
              </a:cxn>
              <a:cxn ang="0">
                <a:pos x="T8" y="T9"/>
              </a:cxn>
            </a:cxnLst>
            <a:rect l="0" t="0" r="r" b="b"/>
            <a:pathLst>
              <a:path w="257" h="438">
                <a:moveTo>
                  <a:pt x="139" y="31"/>
                </a:moveTo>
                <a:cubicBezTo>
                  <a:pt x="35" y="90"/>
                  <a:pt x="0" y="222"/>
                  <a:pt x="59" y="326"/>
                </a:cubicBezTo>
                <a:cubicBezTo>
                  <a:pt x="101" y="398"/>
                  <a:pt x="178" y="437"/>
                  <a:pt x="256" y="433"/>
                </a:cubicBezTo>
                <a:lnTo>
                  <a:pt x="256" y="2"/>
                </a:lnTo>
                <a:cubicBezTo>
                  <a:pt x="217" y="0"/>
                  <a:pt x="176" y="9"/>
                  <a:pt x="139" y="31"/>
                </a:cubicBezTo>
              </a:path>
            </a:pathLst>
          </a:custGeom>
          <a:solidFill>
            <a:schemeClr val="accent4">
              <a:alpha val="7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9" name="Freeform 129">
            <a:extLst>
              <a:ext uri="{FF2B5EF4-FFF2-40B4-BE49-F238E27FC236}">
                <a16:creationId xmlns:a16="http://schemas.microsoft.com/office/drawing/2014/main" id="{F2C31331-5F0B-42EC-8EB9-C13D6A055521}"/>
              </a:ext>
            </a:extLst>
          </p:cNvPr>
          <p:cNvSpPr>
            <a:spLocks noChangeArrowheads="1"/>
          </p:cNvSpPr>
          <p:nvPr/>
        </p:nvSpPr>
        <p:spPr bwMode="auto">
          <a:xfrm>
            <a:off x="4492916" y="0"/>
            <a:ext cx="2070817" cy="1562532"/>
          </a:xfrm>
          <a:custGeom>
            <a:avLst/>
            <a:gdLst>
              <a:gd name="T0" fmla="*/ 50 w 484"/>
              <a:gd name="T1" fmla="*/ 259 h 368"/>
              <a:gd name="T2" fmla="*/ 237 w 484"/>
              <a:gd name="T3" fmla="*/ 367 h 368"/>
              <a:gd name="T4" fmla="*/ 345 w 484"/>
              <a:gd name="T5" fmla="*/ 338 h 368"/>
              <a:gd name="T6" fmla="*/ 424 w 484"/>
              <a:gd name="T7" fmla="*/ 43 h 368"/>
              <a:gd name="T8" fmla="*/ 391 w 484"/>
              <a:gd name="T9" fmla="*/ 0 h 368"/>
              <a:gd name="T10" fmla="*/ 83 w 484"/>
              <a:gd name="T11" fmla="*/ 0 h 368"/>
              <a:gd name="T12" fmla="*/ 50 w 484"/>
              <a:gd name="T13" fmla="*/ 259 h 368"/>
              <a:gd name="T14" fmla="*/ 91 w 484"/>
              <a:gd name="T15" fmla="*/ 112 h 368"/>
              <a:gd name="T16" fmla="*/ 161 w 484"/>
              <a:gd name="T17" fmla="*/ 21 h 368"/>
              <a:gd name="T18" fmla="*/ 237 w 484"/>
              <a:gd name="T19" fmla="*/ 1 h 368"/>
              <a:gd name="T20" fmla="*/ 237 w 484"/>
              <a:gd name="T21" fmla="*/ 1 h 368"/>
              <a:gd name="T22" fmla="*/ 367 w 484"/>
              <a:gd name="T23" fmla="*/ 76 h 368"/>
              <a:gd name="T24" fmla="*/ 382 w 484"/>
              <a:gd name="T25" fmla="*/ 190 h 368"/>
              <a:gd name="T26" fmla="*/ 312 w 484"/>
              <a:gd name="T27" fmla="*/ 282 h 368"/>
              <a:gd name="T28" fmla="*/ 237 w 484"/>
              <a:gd name="T29" fmla="*/ 302 h 368"/>
              <a:gd name="T30" fmla="*/ 106 w 484"/>
              <a:gd name="T31" fmla="*/ 227 h 368"/>
              <a:gd name="T32" fmla="*/ 91 w 484"/>
              <a:gd name="T33" fmla="*/ 112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4" h="368">
                <a:moveTo>
                  <a:pt x="50" y="259"/>
                </a:moveTo>
                <a:cubicBezTo>
                  <a:pt x="90" y="329"/>
                  <a:pt x="162" y="367"/>
                  <a:pt x="237" y="367"/>
                </a:cubicBezTo>
                <a:cubicBezTo>
                  <a:pt x="274" y="367"/>
                  <a:pt x="311" y="358"/>
                  <a:pt x="345" y="338"/>
                </a:cubicBezTo>
                <a:cubicBezTo>
                  <a:pt x="448" y="279"/>
                  <a:pt x="483" y="147"/>
                  <a:pt x="424" y="43"/>
                </a:cubicBezTo>
                <a:cubicBezTo>
                  <a:pt x="414" y="27"/>
                  <a:pt x="403" y="13"/>
                  <a:pt x="391" y="0"/>
                </a:cubicBezTo>
                <a:lnTo>
                  <a:pt x="83" y="0"/>
                </a:lnTo>
                <a:cubicBezTo>
                  <a:pt x="16" y="67"/>
                  <a:pt x="0" y="173"/>
                  <a:pt x="50" y="259"/>
                </a:cubicBezTo>
                <a:close/>
                <a:moveTo>
                  <a:pt x="91" y="112"/>
                </a:moveTo>
                <a:cubicBezTo>
                  <a:pt x="102" y="73"/>
                  <a:pt x="127" y="41"/>
                  <a:pt x="161" y="21"/>
                </a:cubicBezTo>
                <a:cubicBezTo>
                  <a:pt x="184" y="8"/>
                  <a:pt x="210" y="1"/>
                  <a:pt x="237" y="1"/>
                </a:cubicBezTo>
                <a:lnTo>
                  <a:pt x="237" y="1"/>
                </a:lnTo>
                <a:cubicBezTo>
                  <a:pt x="290" y="1"/>
                  <a:pt x="340" y="30"/>
                  <a:pt x="367" y="76"/>
                </a:cubicBezTo>
                <a:cubicBezTo>
                  <a:pt x="387" y="111"/>
                  <a:pt x="393" y="151"/>
                  <a:pt x="382" y="190"/>
                </a:cubicBezTo>
                <a:cubicBezTo>
                  <a:pt x="372" y="229"/>
                  <a:pt x="347" y="262"/>
                  <a:pt x="312" y="282"/>
                </a:cubicBezTo>
                <a:cubicBezTo>
                  <a:pt x="289" y="295"/>
                  <a:pt x="263" y="302"/>
                  <a:pt x="237" y="302"/>
                </a:cubicBezTo>
                <a:cubicBezTo>
                  <a:pt x="183" y="302"/>
                  <a:pt x="133" y="273"/>
                  <a:pt x="106" y="227"/>
                </a:cubicBezTo>
                <a:cubicBezTo>
                  <a:pt x="86" y="192"/>
                  <a:pt x="81" y="151"/>
                  <a:pt x="91" y="112"/>
                </a:cubicBezTo>
                <a:close/>
              </a:path>
            </a:pathLst>
          </a:custGeom>
          <a:solidFill>
            <a:schemeClr val="accent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20" name="Freeform 130">
            <a:extLst>
              <a:ext uri="{FF2B5EF4-FFF2-40B4-BE49-F238E27FC236}">
                <a16:creationId xmlns:a16="http://schemas.microsoft.com/office/drawing/2014/main" id="{4476D3D8-F118-4988-A37C-3E372C844E57}"/>
              </a:ext>
            </a:extLst>
          </p:cNvPr>
          <p:cNvSpPr>
            <a:spLocks noChangeArrowheads="1"/>
          </p:cNvSpPr>
          <p:nvPr/>
        </p:nvSpPr>
        <p:spPr bwMode="auto">
          <a:xfrm>
            <a:off x="5923662" y="5220166"/>
            <a:ext cx="3840425" cy="1637834"/>
          </a:xfrm>
          <a:custGeom>
            <a:avLst/>
            <a:gdLst>
              <a:gd name="T0" fmla="*/ 851 w 898"/>
              <a:gd name="T1" fmla="*/ 139 h 382"/>
              <a:gd name="T2" fmla="*/ 556 w 898"/>
              <a:gd name="T3" fmla="*/ 60 h 382"/>
              <a:gd name="T4" fmla="*/ 0 w 898"/>
              <a:gd name="T5" fmla="*/ 381 h 382"/>
              <a:gd name="T6" fmla="*/ 833 w 898"/>
              <a:gd name="T7" fmla="*/ 381 h 382"/>
              <a:gd name="T8" fmla="*/ 851 w 898"/>
              <a:gd name="T9" fmla="*/ 139 h 382"/>
            </a:gdLst>
            <a:ahLst/>
            <a:cxnLst>
              <a:cxn ang="0">
                <a:pos x="T0" y="T1"/>
              </a:cxn>
              <a:cxn ang="0">
                <a:pos x="T2" y="T3"/>
              </a:cxn>
              <a:cxn ang="0">
                <a:pos x="T4" y="T5"/>
              </a:cxn>
              <a:cxn ang="0">
                <a:pos x="T6" y="T7"/>
              </a:cxn>
              <a:cxn ang="0">
                <a:pos x="T8" y="T9"/>
              </a:cxn>
            </a:cxnLst>
            <a:rect l="0" t="0" r="r" b="b"/>
            <a:pathLst>
              <a:path w="898" h="382">
                <a:moveTo>
                  <a:pt x="851" y="139"/>
                </a:moveTo>
                <a:cubicBezTo>
                  <a:pt x="791" y="35"/>
                  <a:pt x="659" y="0"/>
                  <a:pt x="556" y="60"/>
                </a:cubicBezTo>
                <a:lnTo>
                  <a:pt x="0" y="381"/>
                </a:lnTo>
                <a:lnTo>
                  <a:pt x="833" y="381"/>
                </a:lnTo>
                <a:cubicBezTo>
                  <a:pt x="887" y="314"/>
                  <a:pt x="897" y="218"/>
                  <a:pt x="851" y="139"/>
                </a:cubicBezTo>
              </a:path>
            </a:pathLst>
          </a:custGeom>
          <a:solidFill>
            <a:schemeClr val="accent4">
              <a:alpha val="4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Tree>
    <p:extLst>
      <p:ext uri="{BB962C8B-B14F-4D97-AF65-F5344CB8AC3E}">
        <p14:creationId xmlns:p14="http://schemas.microsoft.com/office/powerpoint/2010/main" val="1715728661"/>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Call-out + image v3a">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15DF92D7-6BDD-774C-AB00-7080B64F6DDF}"/>
              </a:ext>
            </a:extLst>
          </p:cNvPr>
          <p:cNvPicPr>
            <a:picLocks noChangeAspect="1"/>
          </p:cNvPicPr>
          <p:nvPr userDrawn="1"/>
        </p:nvPicPr>
        <p:blipFill>
          <a:blip r:embed="rId2"/>
          <a:stretch>
            <a:fillRect/>
          </a:stretch>
        </p:blipFill>
        <p:spPr>
          <a:xfrm>
            <a:off x="5572400" y="457200"/>
            <a:ext cx="5943600" cy="5943600"/>
          </a:xfrm>
          <a:prstGeom prst="rect">
            <a:avLst/>
          </a:prstGeom>
        </p:spPr>
      </p:pic>
      <p:sp>
        <p:nvSpPr>
          <p:cNvPr id="7" name="Slide Number Placeholder 6">
            <a:extLst>
              <a:ext uri="{FF2B5EF4-FFF2-40B4-BE49-F238E27FC236}">
                <a16:creationId xmlns:a16="http://schemas.microsoft.com/office/drawing/2014/main" id="{083AA513-3096-463D-86CC-9463654915BB}"/>
              </a:ext>
            </a:extLst>
          </p:cNvPr>
          <p:cNvSpPr>
            <a:spLocks noGrp="1"/>
          </p:cNvSpPr>
          <p:nvPr>
            <p:ph type="sldNum" sz="quarter" idx="14"/>
          </p:nvPr>
        </p:nvSpPr>
        <p:spPr>
          <a:xfrm>
            <a:off x="11278800" y="6400800"/>
            <a:ext cx="442800" cy="226800"/>
          </a:xfrm>
          <a:prstGeom prst="rect">
            <a:avLst/>
          </a:prstGeom>
        </p:spPr>
        <p:txBody>
          <a:bodyPr/>
          <a:lstStyle/>
          <a:p>
            <a:pPr algn="r">
              <a:lnSpc>
                <a:spcPts val="970"/>
              </a:lnSpc>
            </a:pPr>
            <a:fld id="{0B868178-02AE-42FC-958D-6B8F13B60175}" type="slidenum">
              <a:rPr lang="en-GB" smtClean="0"/>
              <a:pPr algn="r">
                <a:lnSpc>
                  <a:spcPts val="970"/>
                </a:lnSpc>
              </a:pPr>
              <a:t>‹#›</a:t>
            </a:fld>
            <a:endParaRPr lang="en-GB" sz="800" noProof="0">
              <a:solidFill>
                <a:schemeClr val="bg1"/>
              </a:solidFill>
            </a:endParaRPr>
          </a:p>
        </p:txBody>
      </p:sp>
      <p:sp>
        <p:nvSpPr>
          <p:cNvPr id="14" name="Title 1">
            <a:extLst>
              <a:ext uri="{FF2B5EF4-FFF2-40B4-BE49-F238E27FC236}">
                <a16:creationId xmlns:a16="http://schemas.microsoft.com/office/drawing/2014/main" id="{ED878C1E-6FBA-4C79-A678-CC522AB6304C}"/>
              </a:ext>
            </a:extLst>
          </p:cNvPr>
          <p:cNvSpPr>
            <a:spLocks noGrp="1"/>
          </p:cNvSpPr>
          <p:nvPr>
            <p:ph type="title"/>
          </p:nvPr>
        </p:nvSpPr>
        <p:spPr>
          <a:xfrm>
            <a:off x="442913" y="1376363"/>
            <a:ext cx="4038687" cy="3245879"/>
          </a:xfrm>
        </p:spPr>
        <p:txBody>
          <a:bodyPr vert="horz" lIns="0" tIns="0" rIns="0" bIns="0" rtlCol="0" anchor="t" anchorCtr="0">
            <a:normAutofit/>
          </a:bodyPr>
          <a:lstStyle>
            <a:lvl1pPr marL="0" indent="0">
              <a:buFont typeface="Arial" panose="020B0604020202020204" pitchFamily="34" charset="0"/>
              <a:buNone/>
              <a:defRPr lang="en-GB" sz="5400" dirty="0"/>
            </a:lvl1pPr>
          </a:lstStyle>
          <a:p>
            <a:pPr lvl="0"/>
            <a:r>
              <a:rPr lang="en-US"/>
              <a:t>Click to edit Master title style</a:t>
            </a:r>
            <a:endParaRPr lang="en-GB" dirty="0"/>
          </a:p>
        </p:txBody>
      </p:sp>
      <p:sp>
        <p:nvSpPr>
          <p:cNvPr id="15" name="Text Placeholder 2">
            <a:extLst>
              <a:ext uri="{FF2B5EF4-FFF2-40B4-BE49-F238E27FC236}">
                <a16:creationId xmlns:a16="http://schemas.microsoft.com/office/drawing/2014/main" id="{1954511D-8D7B-47B9-BEAF-9346F271E02D}"/>
              </a:ext>
            </a:extLst>
          </p:cNvPr>
          <p:cNvSpPr>
            <a:spLocks noGrp="1"/>
          </p:cNvSpPr>
          <p:nvPr>
            <p:ph type="body" idx="1"/>
          </p:nvPr>
        </p:nvSpPr>
        <p:spPr>
          <a:xfrm>
            <a:off x="442913" y="444440"/>
            <a:ext cx="4038687" cy="931923"/>
          </a:xfrm>
        </p:spPr>
        <p:txBody>
          <a:bodyPr vert="horz" lIns="0" tIns="0" rIns="0" bIns="0" rtlCol="0" anchor="t" anchorCtr="0">
            <a:normAutofit/>
          </a:bodyPr>
          <a:lstStyle>
            <a:lvl1pPr marL="0" indent="0">
              <a:buNone/>
              <a:defRPr lang="en-US" sz="2800" smtClean="0">
                <a:solidFill>
                  <a:schemeClr val="accent2"/>
                </a:solidFill>
              </a:defRPr>
            </a:lvl1pPr>
          </a:lstStyle>
          <a:p>
            <a:pPr marL="228600" lvl="0" indent="-228600">
              <a:spcAft>
                <a:spcPts val="0"/>
              </a:spcAft>
            </a:pPr>
            <a:r>
              <a:rPr lang="en-US"/>
              <a:t>Click to edit Master text styles</a:t>
            </a:r>
          </a:p>
        </p:txBody>
      </p:sp>
      <p:sp>
        <p:nvSpPr>
          <p:cNvPr id="18" name="Freeform 128">
            <a:extLst>
              <a:ext uri="{FF2B5EF4-FFF2-40B4-BE49-F238E27FC236}">
                <a16:creationId xmlns:a16="http://schemas.microsoft.com/office/drawing/2014/main" id="{CE295A9A-F92C-4761-AAD6-4B1B875F0FD1}"/>
              </a:ext>
            </a:extLst>
          </p:cNvPr>
          <p:cNvSpPr>
            <a:spLocks noChangeArrowheads="1"/>
          </p:cNvSpPr>
          <p:nvPr/>
        </p:nvSpPr>
        <p:spPr bwMode="auto">
          <a:xfrm>
            <a:off x="11100115" y="3395569"/>
            <a:ext cx="1091885" cy="1863730"/>
          </a:xfrm>
          <a:custGeom>
            <a:avLst/>
            <a:gdLst>
              <a:gd name="T0" fmla="*/ 139 w 257"/>
              <a:gd name="T1" fmla="*/ 31 h 438"/>
              <a:gd name="T2" fmla="*/ 59 w 257"/>
              <a:gd name="T3" fmla="*/ 326 h 438"/>
              <a:gd name="T4" fmla="*/ 256 w 257"/>
              <a:gd name="T5" fmla="*/ 433 h 438"/>
              <a:gd name="T6" fmla="*/ 256 w 257"/>
              <a:gd name="T7" fmla="*/ 2 h 438"/>
              <a:gd name="T8" fmla="*/ 139 w 257"/>
              <a:gd name="T9" fmla="*/ 31 h 438"/>
            </a:gdLst>
            <a:ahLst/>
            <a:cxnLst>
              <a:cxn ang="0">
                <a:pos x="T0" y="T1"/>
              </a:cxn>
              <a:cxn ang="0">
                <a:pos x="T2" y="T3"/>
              </a:cxn>
              <a:cxn ang="0">
                <a:pos x="T4" y="T5"/>
              </a:cxn>
              <a:cxn ang="0">
                <a:pos x="T6" y="T7"/>
              </a:cxn>
              <a:cxn ang="0">
                <a:pos x="T8" y="T9"/>
              </a:cxn>
            </a:cxnLst>
            <a:rect l="0" t="0" r="r" b="b"/>
            <a:pathLst>
              <a:path w="257" h="438">
                <a:moveTo>
                  <a:pt x="139" y="31"/>
                </a:moveTo>
                <a:cubicBezTo>
                  <a:pt x="35" y="90"/>
                  <a:pt x="0" y="222"/>
                  <a:pt x="59" y="326"/>
                </a:cubicBezTo>
                <a:cubicBezTo>
                  <a:pt x="101" y="398"/>
                  <a:pt x="178" y="437"/>
                  <a:pt x="256" y="433"/>
                </a:cubicBezTo>
                <a:lnTo>
                  <a:pt x="256" y="2"/>
                </a:lnTo>
                <a:cubicBezTo>
                  <a:pt x="217" y="0"/>
                  <a:pt x="176" y="9"/>
                  <a:pt x="139" y="31"/>
                </a:cubicBezTo>
              </a:path>
            </a:pathLst>
          </a:custGeom>
          <a:solidFill>
            <a:schemeClr val="accent5">
              <a:alpha val="70000"/>
            </a:schemeClr>
          </a:solidFill>
          <a:ln>
            <a:noFill/>
          </a:ln>
          <a:effectLst/>
        </p:spPr>
        <p:txBody>
          <a:bodyPr wrap="none" anchor="ctr"/>
          <a:lstStyle/>
          <a:p>
            <a:endParaRPr dirty="0"/>
          </a:p>
        </p:txBody>
      </p:sp>
      <p:sp>
        <p:nvSpPr>
          <p:cNvPr id="19" name="Freeform 129">
            <a:extLst>
              <a:ext uri="{FF2B5EF4-FFF2-40B4-BE49-F238E27FC236}">
                <a16:creationId xmlns:a16="http://schemas.microsoft.com/office/drawing/2014/main" id="{F2C31331-5F0B-42EC-8EB9-C13D6A055521}"/>
              </a:ext>
            </a:extLst>
          </p:cNvPr>
          <p:cNvSpPr>
            <a:spLocks noChangeArrowheads="1"/>
          </p:cNvSpPr>
          <p:nvPr/>
        </p:nvSpPr>
        <p:spPr bwMode="auto">
          <a:xfrm>
            <a:off x="4492916" y="0"/>
            <a:ext cx="2070817" cy="1562532"/>
          </a:xfrm>
          <a:custGeom>
            <a:avLst/>
            <a:gdLst>
              <a:gd name="T0" fmla="*/ 50 w 484"/>
              <a:gd name="T1" fmla="*/ 259 h 368"/>
              <a:gd name="T2" fmla="*/ 237 w 484"/>
              <a:gd name="T3" fmla="*/ 367 h 368"/>
              <a:gd name="T4" fmla="*/ 345 w 484"/>
              <a:gd name="T5" fmla="*/ 338 h 368"/>
              <a:gd name="T6" fmla="*/ 424 w 484"/>
              <a:gd name="T7" fmla="*/ 43 h 368"/>
              <a:gd name="T8" fmla="*/ 391 w 484"/>
              <a:gd name="T9" fmla="*/ 0 h 368"/>
              <a:gd name="T10" fmla="*/ 83 w 484"/>
              <a:gd name="T11" fmla="*/ 0 h 368"/>
              <a:gd name="T12" fmla="*/ 50 w 484"/>
              <a:gd name="T13" fmla="*/ 259 h 368"/>
              <a:gd name="T14" fmla="*/ 91 w 484"/>
              <a:gd name="T15" fmla="*/ 112 h 368"/>
              <a:gd name="T16" fmla="*/ 161 w 484"/>
              <a:gd name="T17" fmla="*/ 21 h 368"/>
              <a:gd name="T18" fmla="*/ 237 w 484"/>
              <a:gd name="T19" fmla="*/ 1 h 368"/>
              <a:gd name="T20" fmla="*/ 237 w 484"/>
              <a:gd name="T21" fmla="*/ 1 h 368"/>
              <a:gd name="T22" fmla="*/ 367 w 484"/>
              <a:gd name="T23" fmla="*/ 76 h 368"/>
              <a:gd name="T24" fmla="*/ 382 w 484"/>
              <a:gd name="T25" fmla="*/ 190 h 368"/>
              <a:gd name="T26" fmla="*/ 312 w 484"/>
              <a:gd name="T27" fmla="*/ 282 h 368"/>
              <a:gd name="T28" fmla="*/ 237 w 484"/>
              <a:gd name="T29" fmla="*/ 302 h 368"/>
              <a:gd name="T30" fmla="*/ 106 w 484"/>
              <a:gd name="T31" fmla="*/ 227 h 368"/>
              <a:gd name="T32" fmla="*/ 91 w 484"/>
              <a:gd name="T33" fmla="*/ 112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4" h="368">
                <a:moveTo>
                  <a:pt x="50" y="259"/>
                </a:moveTo>
                <a:cubicBezTo>
                  <a:pt x="90" y="329"/>
                  <a:pt x="162" y="367"/>
                  <a:pt x="237" y="367"/>
                </a:cubicBezTo>
                <a:cubicBezTo>
                  <a:pt x="274" y="367"/>
                  <a:pt x="311" y="358"/>
                  <a:pt x="345" y="338"/>
                </a:cubicBezTo>
                <a:cubicBezTo>
                  <a:pt x="448" y="279"/>
                  <a:pt x="483" y="147"/>
                  <a:pt x="424" y="43"/>
                </a:cubicBezTo>
                <a:cubicBezTo>
                  <a:pt x="414" y="27"/>
                  <a:pt x="403" y="13"/>
                  <a:pt x="391" y="0"/>
                </a:cubicBezTo>
                <a:lnTo>
                  <a:pt x="83" y="0"/>
                </a:lnTo>
                <a:cubicBezTo>
                  <a:pt x="16" y="67"/>
                  <a:pt x="0" y="173"/>
                  <a:pt x="50" y="259"/>
                </a:cubicBezTo>
                <a:close/>
                <a:moveTo>
                  <a:pt x="91" y="112"/>
                </a:moveTo>
                <a:cubicBezTo>
                  <a:pt x="102" y="73"/>
                  <a:pt x="127" y="41"/>
                  <a:pt x="161" y="21"/>
                </a:cubicBezTo>
                <a:cubicBezTo>
                  <a:pt x="184" y="8"/>
                  <a:pt x="210" y="1"/>
                  <a:pt x="237" y="1"/>
                </a:cubicBezTo>
                <a:lnTo>
                  <a:pt x="237" y="1"/>
                </a:lnTo>
                <a:cubicBezTo>
                  <a:pt x="290" y="1"/>
                  <a:pt x="340" y="30"/>
                  <a:pt x="367" y="76"/>
                </a:cubicBezTo>
                <a:cubicBezTo>
                  <a:pt x="387" y="111"/>
                  <a:pt x="393" y="151"/>
                  <a:pt x="382" y="190"/>
                </a:cubicBezTo>
                <a:cubicBezTo>
                  <a:pt x="372" y="229"/>
                  <a:pt x="347" y="262"/>
                  <a:pt x="312" y="282"/>
                </a:cubicBezTo>
                <a:cubicBezTo>
                  <a:pt x="289" y="295"/>
                  <a:pt x="263" y="302"/>
                  <a:pt x="237" y="302"/>
                </a:cubicBezTo>
                <a:cubicBezTo>
                  <a:pt x="183" y="302"/>
                  <a:pt x="133" y="273"/>
                  <a:pt x="106" y="227"/>
                </a:cubicBezTo>
                <a:cubicBezTo>
                  <a:pt x="86" y="192"/>
                  <a:pt x="81" y="151"/>
                  <a:pt x="91" y="112"/>
                </a:cubicBezTo>
                <a:close/>
              </a:path>
            </a:pathLst>
          </a:custGeom>
          <a:solidFill>
            <a:schemeClr val="accent3"/>
          </a:solidFill>
          <a:ln>
            <a:noFill/>
          </a:ln>
          <a:effectLst/>
        </p:spPr>
        <p:txBody>
          <a:bodyPr wrap="none" anchor="ctr"/>
          <a:lstStyle/>
          <a:p>
            <a:endParaRPr dirty="0"/>
          </a:p>
        </p:txBody>
      </p:sp>
      <p:sp>
        <p:nvSpPr>
          <p:cNvPr id="20" name="Freeform 130">
            <a:extLst>
              <a:ext uri="{FF2B5EF4-FFF2-40B4-BE49-F238E27FC236}">
                <a16:creationId xmlns:a16="http://schemas.microsoft.com/office/drawing/2014/main" id="{4476D3D8-F118-4988-A37C-3E372C844E57}"/>
              </a:ext>
            </a:extLst>
          </p:cNvPr>
          <p:cNvSpPr>
            <a:spLocks noChangeArrowheads="1"/>
          </p:cNvSpPr>
          <p:nvPr/>
        </p:nvSpPr>
        <p:spPr bwMode="auto">
          <a:xfrm>
            <a:off x="5923662" y="5220166"/>
            <a:ext cx="3840425" cy="1637834"/>
          </a:xfrm>
          <a:custGeom>
            <a:avLst/>
            <a:gdLst>
              <a:gd name="T0" fmla="*/ 851 w 898"/>
              <a:gd name="T1" fmla="*/ 139 h 382"/>
              <a:gd name="T2" fmla="*/ 556 w 898"/>
              <a:gd name="T3" fmla="*/ 60 h 382"/>
              <a:gd name="T4" fmla="*/ 0 w 898"/>
              <a:gd name="T5" fmla="*/ 381 h 382"/>
              <a:gd name="T6" fmla="*/ 833 w 898"/>
              <a:gd name="T7" fmla="*/ 381 h 382"/>
              <a:gd name="T8" fmla="*/ 851 w 898"/>
              <a:gd name="T9" fmla="*/ 139 h 382"/>
            </a:gdLst>
            <a:ahLst/>
            <a:cxnLst>
              <a:cxn ang="0">
                <a:pos x="T0" y="T1"/>
              </a:cxn>
              <a:cxn ang="0">
                <a:pos x="T2" y="T3"/>
              </a:cxn>
              <a:cxn ang="0">
                <a:pos x="T4" y="T5"/>
              </a:cxn>
              <a:cxn ang="0">
                <a:pos x="T6" y="T7"/>
              </a:cxn>
              <a:cxn ang="0">
                <a:pos x="T8" y="T9"/>
              </a:cxn>
            </a:cxnLst>
            <a:rect l="0" t="0" r="r" b="b"/>
            <a:pathLst>
              <a:path w="898" h="382">
                <a:moveTo>
                  <a:pt x="851" y="139"/>
                </a:moveTo>
                <a:cubicBezTo>
                  <a:pt x="791" y="35"/>
                  <a:pt x="659" y="0"/>
                  <a:pt x="556" y="60"/>
                </a:cubicBezTo>
                <a:lnTo>
                  <a:pt x="0" y="381"/>
                </a:lnTo>
                <a:lnTo>
                  <a:pt x="833" y="381"/>
                </a:lnTo>
                <a:cubicBezTo>
                  <a:pt x="887" y="314"/>
                  <a:pt x="897" y="218"/>
                  <a:pt x="851" y="139"/>
                </a:cubicBezTo>
              </a:path>
            </a:pathLst>
          </a:custGeom>
          <a:solidFill>
            <a:schemeClr val="accent5">
              <a:alpha val="40000"/>
            </a:schemeClr>
          </a:solidFill>
          <a:ln>
            <a:noFill/>
          </a:ln>
          <a:effectLst/>
        </p:spPr>
        <p:txBody>
          <a:bodyPr wrap="none" anchor="ctr"/>
          <a:lstStyle/>
          <a:p>
            <a:endParaRPr dirty="0"/>
          </a:p>
        </p:txBody>
      </p:sp>
    </p:spTree>
    <p:extLst>
      <p:ext uri="{BB962C8B-B14F-4D97-AF65-F5344CB8AC3E}">
        <p14:creationId xmlns:p14="http://schemas.microsoft.com/office/powerpoint/2010/main" val="4161143386"/>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9_Title Slide">
    <p:spTree>
      <p:nvGrpSpPr>
        <p:cNvPr id="1" name=""/>
        <p:cNvGrpSpPr/>
        <p:nvPr/>
      </p:nvGrpSpPr>
      <p:grpSpPr>
        <a:xfrm>
          <a:off x="0" y="0"/>
          <a:ext cx="0" cy="0"/>
          <a:chOff x="0" y="0"/>
          <a:chExt cx="0" cy="0"/>
        </a:xfrm>
      </p:grpSpPr>
      <p:sp>
        <p:nvSpPr>
          <p:cNvPr id="20" name="Oval 19">
            <a:extLst>
              <a:ext uri="{FF2B5EF4-FFF2-40B4-BE49-F238E27FC236}">
                <a16:creationId xmlns:a16="http://schemas.microsoft.com/office/drawing/2014/main" id="{E125091C-CE1F-4A41-A2A9-9326BF5C3BFF}"/>
              </a:ext>
            </a:extLst>
          </p:cNvPr>
          <p:cNvSpPr/>
          <p:nvPr userDrawn="1"/>
        </p:nvSpPr>
        <p:spPr>
          <a:xfrm>
            <a:off x="11693606" y="2301854"/>
            <a:ext cx="1149350" cy="114935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pic>
        <p:nvPicPr>
          <p:cNvPr id="21" name="Picture 20">
            <a:extLst>
              <a:ext uri="{FF2B5EF4-FFF2-40B4-BE49-F238E27FC236}">
                <a16:creationId xmlns:a16="http://schemas.microsoft.com/office/drawing/2014/main" id="{2865F60F-C2C6-AD46-8D46-61CA84687A9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783632" y="-819472"/>
            <a:ext cx="13919981" cy="7844590"/>
          </a:xfrm>
          <a:prstGeom prst="rect">
            <a:avLst/>
          </a:prstGeom>
        </p:spPr>
      </p:pic>
      <p:sp>
        <p:nvSpPr>
          <p:cNvPr id="22" name="Oval 21">
            <a:extLst>
              <a:ext uri="{FF2B5EF4-FFF2-40B4-BE49-F238E27FC236}">
                <a16:creationId xmlns:a16="http://schemas.microsoft.com/office/drawing/2014/main" id="{E3AE5129-87A5-B945-A1F7-7DE567E5D2E5}"/>
              </a:ext>
            </a:extLst>
          </p:cNvPr>
          <p:cNvSpPr/>
          <p:nvPr userDrawn="1"/>
        </p:nvSpPr>
        <p:spPr>
          <a:xfrm rot="20757335">
            <a:off x="6466258" y="2604804"/>
            <a:ext cx="4638089" cy="4638089"/>
          </a:xfrm>
          <a:prstGeom prst="ellipse">
            <a:avLst/>
          </a:prstGeom>
          <a:gradFill flip="none" rotWithShape="1">
            <a:gsLst>
              <a:gs pos="36000">
                <a:schemeClr val="accent6"/>
              </a:gs>
              <a:gs pos="100000">
                <a:schemeClr val="accent6"/>
              </a:gs>
              <a:gs pos="90000">
                <a:schemeClr val="accent6">
                  <a:alpha val="0"/>
                </a:scheme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sp>
        <p:nvSpPr>
          <p:cNvPr id="23" name="Rectangle: Rounded Corners 22">
            <a:extLst>
              <a:ext uri="{FF2B5EF4-FFF2-40B4-BE49-F238E27FC236}">
                <a16:creationId xmlns:a16="http://schemas.microsoft.com/office/drawing/2014/main" id="{D44999F7-6588-8D47-B021-5DC44E0D1AE4}"/>
              </a:ext>
            </a:extLst>
          </p:cNvPr>
          <p:cNvSpPr/>
          <p:nvPr userDrawn="1"/>
        </p:nvSpPr>
        <p:spPr>
          <a:xfrm rot="3600000">
            <a:off x="3726504" y="1761126"/>
            <a:ext cx="2220492" cy="10699190"/>
          </a:xfrm>
          <a:prstGeom prst="roundRect">
            <a:avLst>
              <a:gd name="adj" fmla="val 50000"/>
            </a:avLst>
          </a:prstGeom>
          <a:gradFill flip="none" rotWithShape="1">
            <a:gsLst>
              <a:gs pos="5000">
                <a:schemeClr val="bg1">
                  <a:alpha val="0"/>
                </a:schemeClr>
              </a:gs>
              <a:gs pos="28000">
                <a:srgbClr val="FFFFFF">
                  <a:alpha val="87000"/>
                </a:srgbClr>
              </a:gs>
              <a:gs pos="34000">
                <a:schemeClr val="bg1"/>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sp>
        <p:nvSpPr>
          <p:cNvPr id="24" name="Oval 23">
            <a:extLst>
              <a:ext uri="{FF2B5EF4-FFF2-40B4-BE49-F238E27FC236}">
                <a16:creationId xmlns:a16="http://schemas.microsoft.com/office/drawing/2014/main" id="{3093AAA8-6868-1749-B42D-3EF559CE3791}"/>
              </a:ext>
            </a:extLst>
          </p:cNvPr>
          <p:cNvSpPr/>
          <p:nvPr userDrawn="1"/>
        </p:nvSpPr>
        <p:spPr>
          <a:xfrm>
            <a:off x="11626926" y="1726539"/>
            <a:ext cx="174629" cy="17462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sp>
        <p:nvSpPr>
          <p:cNvPr id="25" name="Oval 24">
            <a:extLst>
              <a:ext uri="{FF2B5EF4-FFF2-40B4-BE49-F238E27FC236}">
                <a16:creationId xmlns:a16="http://schemas.microsoft.com/office/drawing/2014/main" id="{9C3124A5-9B72-8947-9C36-69352D285723}"/>
              </a:ext>
            </a:extLst>
          </p:cNvPr>
          <p:cNvSpPr/>
          <p:nvPr userDrawn="1"/>
        </p:nvSpPr>
        <p:spPr>
          <a:xfrm>
            <a:off x="11960306" y="2111354"/>
            <a:ext cx="381000" cy="381000"/>
          </a:xfrm>
          <a:prstGeom prst="ellipse">
            <a:avLst/>
          </a:prstGeom>
          <a:gradFill>
            <a:gsLst>
              <a:gs pos="5000">
                <a:schemeClr val="accent5">
                  <a:alpha val="0"/>
                </a:schemeClr>
              </a:gs>
              <a:gs pos="75000">
                <a:schemeClr val="accent5"/>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sp>
        <p:nvSpPr>
          <p:cNvPr id="26" name="Circle: Hollow 13">
            <a:extLst>
              <a:ext uri="{FF2B5EF4-FFF2-40B4-BE49-F238E27FC236}">
                <a16:creationId xmlns:a16="http://schemas.microsoft.com/office/drawing/2014/main" id="{7D8EC11D-03C6-0346-8233-280E3D6F6D7F}"/>
              </a:ext>
            </a:extLst>
          </p:cNvPr>
          <p:cNvSpPr/>
          <p:nvPr userDrawn="1"/>
        </p:nvSpPr>
        <p:spPr>
          <a:xfrm>
            <a:off x="11490719" y="368594"/>
            <a:ext cx="1488761" cy="1488761"/>
          </a:xfrm>
          <a:prstGeom prst="donut">
            <a:avLst>
              <a:gd name="adj" fmla="val 1743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sp>
        <p:nvSpPr>
          <p:cNvPr id="27" name="Oval 26">
            <a:extLst>
              <a:ext uri="{FF2B5EF4-FFF2-40B4-BE49-F238E27FC236}">
                <a16:creationId xmlns:a16="http://schemas.microsoft.com/office/drawing/2014/main" id="{7E9B31C4-DBB2-1846-99F5-139B6FC5F3A5}"/>
              </a:ext>
            </a:extLst>
          </p:cNvPr>
          <p:cNvSpPr/>
          <p:nvPr userDrawn="1"/>
        </p:nvSpPr>
        <p:spPr>
          <a:xfrm rot="1516703">
            <a:off x="4788006" y="-1798514"/>
            <a:ext cx="3705200" cy="3705200"/>
          </a:xfrm>
          <a:prstGeom prst="ellipse">
            <a:avLst/>
          </a:prstGeom>
          <a:gradFill flip="none" rotWithShape="1">
            <a:gsLst>
              <a:gs pos="54000">
                <a:schemeClr val="accent5"/>
              </a:gs>
              <a:gs pos="0">
                <a:schemeClr val="accent5">
                  <a:alpha val="0"/>
                </a:schemeClr>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sp>
        <p:nvSpPr>
          <p:cNvPr id="28" name="Oval 27">
            <a:extLst>
              <a:ext uri="{FF2B5EF4-FFF2-40B4-BE49-F238E27FC236}">
                <a16:creationId xmlns:a16="http://schemas.microsoft.com/office/drawing/2014/main" id="{9F289379-0040-A34C-ADA4-7381CCE57C59}"/>
              </a:ext>
            </a:extLst>
          </p:cNvPr>
          <p:cNvSpPr/>
          <p:nvPr userDrawn="1"/>
        </p:nvSpPr>
        <p:spPr>
          <a:xfrm>
            <a:off x="8129665" y="1402690"/>
            <a:ext cx="174628" cy="174628"/>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sp>
        <p:nvSpPr>
          <p:cNvPr id="29" name="Rectangle: Rounded Corners 16">
            <a:extLst>
              <a:ext uri="{FF2B5EF4-FFF2-40B4-BE49-F238E27FC236}">
                <a16:creationId xmlns:a16="http://schemas.microsoft.com/office/drawing/2014/main" id="{03C9CA8B-6E36-AD45-A80F-7FE70AC303C7}"/>
              </a:ext>
            </a:extLst>
          </p:cNvPr>
          <p:cNvSpPr/>
          <p:nvPr userDrawn="1"/>
        </p:nvSpPr>
        <p:spPr>
          <a:xfrm rot="3600000">
            <a:off x="10857854" y="5623414"/>
            <a:ext cx="198783" cy="907713"/>
          </a:xfrm>
          <a:prstGeom prst="roundRect">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sp>
        <p:nvSpPr>
          <p:cNvPr id="30" name="Oval 29">
            <a:extLst>
              <a:ext uri="{FF2B5EF4-FFF2-40B4-BE49-F238E27FC236}">
                <a16:creationId xmlns:a16="http://schemas.microsoft.com/office/drawing/2014/main" id="{C0FF598F-EC17-7B47-A37F-4BF4A5DFC5F9}"/>
              </a:ext>
            </a:extLst>
          </p:cNvPr>
          <p:cNvSpPr/>
          <p:nvPr userDrawn="1"/>
        </p:nvSpPr>
        <p:spPr>
          <a:xfrm>
            <a:off x="11033202" y="5569878"/>
            <a:ext cx="140340" cy="14034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sp>
        <p:nvSpPr>
          <p:cNvPr id="31" name="Rectangle: Rounded Corners 18">
            <a:extLst>
              <a:ext uri="{FF2B5EF4-FFF2-40B4-BE49-F238E27FC236}">
                <a16:creationId xmlns:a16="http://schemas.microsoft.com/office/drawing/2014/main" id="{61F19B17-5289-3B47-B2D4-8CAB6821D38A}"/>
              </a:ext>
            </a:extLst>
          </p:cNvPr>
          <p:cNvSpPr/>
          <p:nvPr userDrawn="1"/>
        </p:nvSpPr>
        <p:spPr>
          <a:xfrm rot="3600000">
            <a:off x="9124681" y="4768943"/>
            <a:ext cx="697340" cy="3184299"/>
          </a:xfrm>
          <a:prstGeom prst="roundRect">
            <a:avLst>
              <a:gd name="adj" fmla="val 50000"/>
            </a:avLst>
          </a:prstGeom>
          <a:gradFill flip="none" rotWithShape="1">
            <a:gsLst>
              <a:gs pos="26000">
                <a:schemeClr val="accent6"/>
              </a:gs>
              <a:gs pos="82000">
                <a:schemeClr val="accent6">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sp>
        <p:nvSpPr>
          <p:cNvPr id="32" name="Rectangle: Rounded Corners 21">
            <a:extLst>
              <a:ext uri="{FF2B5EF4-FFF2-40B4-BE49-F238E27FC236}">
                <a16:creationId xmlns:a16="http://schemas.microsoft.com/office/drawing/2014/main" id="{8DD9C027-A354-AB43-A407-8F01807EF324}"/>
              </a:ext>
            </a:extLst>
          </p:cNvPr>
          <p:cNvSpPr/>
          <p:nvPr userDrawn="1"/>
        </p:nvSpPr>
        <p:spPr>
          <a:xfrm rot="3600000">
            <a:off x="7430897" y="4258754"/>
            <a:ext cx="1417200" cy="4185535"/>
          </a:xfrm>
          <a:prstGeom prst="roundRect">
            <a:avLst>
              <a:gd name="adj" fmla="val 50000"/>
            </a:avLst>
          </a:prstGeom>
          <a:gradFill flip="none" rotWithShape="1">
            <a:gsLst>
              <a:gs pos="19000">
                <a:schemeClr val="accent5">
                  <a:alpha val="50000"/>
                </a:schemeClr>
              </a:gs>
              <a:gs pos="54000">
                <a:schemeClr val="accent5"/>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sp>
        <p:nvSpPr>
          <p:cNvPr id="33" name="Rectangle: Rounded Corners 19">
            <a:extLst>
              <a:ext uri="{FF2B5EF4-FFF2-40B4-BE49-F238E27FC236}">
                <a16:creationId xmlns:a16="http://schemas.microsoft.com/office/drawing/2014/main" id="{1C786ED2-3956-1B45-B905-15E189527706}"/>
              </a:ext>
            </a:extLst>
          </p:cNvPr>
          <p:cNvSpPr/>
          <p:nvPr userDrawn="1"/>
        </p:nvSpPr>
        <p:spPr>
          <a:xfrm rot="3600000">
            <a:off x="6709027" y="3784173"/>
            <a:ext cx="697340" cy="3184299"/>
          </a:xfrm>
          <a:prstGeom prst="roundRect">
            <a:avLst>
              <a:gd name="adj" fmla="val 50000"/>
            </a:avLst>
          </a:prstGeom>
          <a:gradFill flip="none" rotWithShape="1">
            <a:gsLst>
              <a:gs pos="41000">
                <a:schemeClr val="accent4"/>
              </a:gs>
              <a:gs pos="64000">
                <a:srgbClr val="500091">
                  <a:alpha val="30000"/>
                </a:srgbClr>
              </a:gs>
              <a:gs pos="72000">
                <a:srgbClr val="500091">
                  <a:alpha val="16000"/>
                </a:srgbClr>
              </a:gs>
              <a:gs pos="90000">
                <a:schemeClr val="accent4">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sp>
        <p:nvSpPr>
          <p:cNvPr id="34" name="Rectangle: Rounded Corners 23">
            <a:extLst>
              <a:ext uri="{FF2B5EF4-FFF2-40B4-BE49-F238E27FC236}">
                <a16:creationId xmlns:a16="http://schemas.microsoft.com/office/drawing/2014/main" id="{98D15254-FEA1-EC4B-A097-F08B993C276E}"/>
              </a:ext>
            </a:extLst>
          </p:cNvPr>
          <p:cNvSpPr/>
          <p:nvPr userDrawn="1"/>
        </p:nvSpPr>
        <p:spPr>
          <a:xfrm rot="3600000">
            <a:off x="6539795" y="2376754"/>
            <a:ext cx="313116" cy="1320287"/>
          </a:xfrm>
          <a:prstGeom prst="roundRect">
            <a:avLst>
              <a:gd name="adj" fmla="val 50000"/>
            </a:avLst>
          </a:prstGeom>
          <a:gradFill flip="none" rotWithShape="1">
            <a:gsLst>
              <a:gs pos="41000">
                <a:schemeClr val="accent5">
                  <a:alpha val="86000"/>
                </a:schemeClr>
              </a:gs>
              <a:gs pos="92000">
                <a:schemeClr val="accent5">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sp>
        <p:nvSpPr>
          <p:cNvPr id="35" name="Oval 34">
            <a:extLst>
              <a:ext uri="{FF2B5EF4-FFF2-40B4-BE49-F238E27FC236}">
                <a16:creationId xmlns:a16="http://schemas.microsoft.com/office/drawing/2014/main" id="{9B78F1DC-7152-CB4D-B925-F62843B54DAC}"/>
              </a:ext>
            </a:extLst>
          </p:cNvPr>
          <p:cNvSpPr/>
          <p:nvPr userDrawn="1"/>
        </p:nvSpPr>
        <p:spPr>
          <a:xfrm>
            <a:off x="6017763" y="1010325"/>
            <a:ext cx="1149350" cy="1149350"/>
          </a:xfrm>
          <a:prstGeom prst="ellipse">
            <a:avLst/>
          </a:prstGeom>
          <a:gradFill flip="none" rotWithShape="1">
            <a:gsLst>
              <a:gs pos="61000">
                <a:schemeClr val="accent6"/>
              </a:gs>
              <a:gs pos="12000">
                <a:schemeClr val="accent6">
                  <a:alpha val="0"/>
                </a:schemeClr>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sp>
        <p:nvSpPr>
          <p:cNvPr id="41" name="Circle: Hollow 13">
            <a:extLst>
              <a:ext uri="{FF2B5EF4-FFF2-40B4-BE49-F238E27FC236}">
                <a16:creationId xmlns:a16="http://schemas.microsoft.com/office/drawing/2014/main" id="{3DF4F1DB-441A-7B47-9262-2321BD5FBE5F}"/>
              </a:ext>
            </a:extLst>
          </p:cNvPr>
          <p:cNvSpPr/>
          <p:nvPr userDrawn="1"/>
        </p:nvSpPr>
        <p:spPr>
          <a:xfrm>
            <a:off x="-853681" y="2409666"/>
            <a:ext cx="1488761" cy="1488761"/>
          </a:xfrm>
          <a:prstGeom prst="donut">
            <a:avLst>
              <a:gd name="adj" fmla="val 1743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grpSp>
        <p:nvGrpSpPr>
          <p:cNvPr id="36" name="Group 35">
            <a:extLst>
              <a:ext uri="{FF2B5EF4-FFF2-40B4-BE49-F238E27FC236}">
                <a16:creationId xmlns:a16="http://schemas.microsoft.com/office/drawing/2014/main" id="{12FA78D9-FBEC-6647-B4AE-FB2C3D63CFC9}"/>
              </a:ext>
            </a:extLst>
          </p:cNvPr>
          <p:cNvGrpSpPr/>
          <p:nvPr userDrawn="1"/>
        </p:nvGrpSpPr>
        <p:grpSpPr>
          <a:xfrm>
            <a:off x="471601" y="443753"/>
            <a:ext cx="1087896" cy="425720"/>
            <a:chOff x="3562350" y="3567113"/>
            <a:chExt cx="3476625" cy="1360487"/>
          </a:xfrm>
          <a:solidFill>
            <a:schemeClr val="accent1"/>
          </a:solidFill>
        </p:grpSpPr>
        <p:sp>
          <p:nvSpPr>
            <p:cNvPr id="37" name="Freeform 1">
              <a:extLst>
                <a:ext uri="{FF2B5EF4-FFF2-40B4-BE49-F238E27FC236}">
                  <a16:creationId xmlns:a16="http://schemas.microsoft.com/office/drawing/2014/main" id="{11730C9D-A94E-BD4B-B2EF-25858D9C3356}"/>
                </a:ext>
              </a:extLst>
            </p:cNvPr>
            <p:cNvSpPr>
              <a:spLocks noChangeArrowheads="1"/>
            </p:cNvSpPr>
            <p:nvPr/>
          </p:nvSpPr>
          <p:spPr bwMode="auto">
            <a:xfrm>
              <a:off x="4710113" y="3800475"/>
              <a:ext cx="1136650" cy="1127125"/>
            </a:xfrm>
            <a:custGeom>
              <a:avLst/>
              <a:gdLst>
                <a:gd name="T0" fmla="*/ 10 w 3158"/>
                <a:gd name="T1" fmla="*/ 1539 h 3130"/>
                <a:gd name="T2" fmla="*/ 1599 w 3158"/>
                <a:gd name="T3" fmla="*/ 13 h 3130"/>
                <a:gd name="T4" fmla="*/ 3148 w 3158"/>
                <a:gd name="T5" fmla="*/ 1584 h 3130"/>
                <a:gd name="T6" fmla="*/ 1560 w 3158"/>
                <a:gd name="T7" fmla="*/ 3116 h 3130"/>
                <a:gd name="T8" fmla="*/ 10 w 3158"/>
                <a:gd name="T9" fmla="*/ 1545 h 3130"/>
                <a:gd name="T10" fmla="*/ 10 w 3158"/>
                <a:gd name="T11" fmla="*/ 1539 h 3130"/>
                <a:gd name="T12" fmla="*/ 711 w 3158"/>
                <a:gd name="T13" fmla="*/ 1553 h 3130"/>
                <a:gd name="T14" fmla="*/ 1568 w 3158"/>
                <a:gd name="T15" fmla="*/ 2456 h 3130"/>
                <a:gd name="T16" fmla="*/ 2446 w 3158"/>
                <a:gd name="T17" fmla="*/ 1570 h 3130"/>
                <a:gd name="T18" fmla="*/ 1591 w 3158"/>
                <a:gd name="T19" fmla="*/ 662 h 3130"/>
                <a:gd name="T20" fmla="*/ 712 w 3158"/>
                <a:gd name="T21" fmla="*/ 1548 h 3130"/>
                <a:gd name="T22" fmla="*/ 711 w 3158"/>
                <a:gd name="T23" fmla="*/ 1553 h 3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58" h="3130">
                  <a:moveTo>
                    <a:pt x="10" y="1539"/>
                  </a:moveTo>
                  <a:cubicBezTo>
                    <a:pt x="19" y="790"/>
                    <a:pt x="578" y="0"/>
                    <a:pt x="1599" y="13"/>
                  </a:cubicBezTo>
                  <a:cubicBezTo>
                    <a:pt x="2619" y="26"/>
                    <a:pt x="3157" y="830"/>
                    <a:pt x="3148" y="1584"/>
                  </a:cubicBezTo>
                  <a:cubicBezTo>
                    <a:pt x="3138" y="2341"/>
                    <a:pt x="2579" y="3129"/>
                    <a:pt x="1560" y="3116"/>
                  </a:cubicBezTo>
                  <a:cubicBezTo>
                    <a:pt x="539" y="3104"/>
                    <a:pt x="0" y="2302"/>
                    <a:pt x="10" y="1545"/>
                  </a:cubicBezTo>
                  <a:lnTo>
                    <a:pt x="10" y="1539"/>
                  </a:lnTo>
                  <a:close/>
                  <a:moveTo>
                    <a:pt x="711" y="1553"/>
                  </a:moveTo>
                  <a:cubicBezTo>
                    <a:pt x="705" y="2065"/>
                    <a:pt x="1089" y="2451"/>
                    <a:pt x="1568" y="2456"/>
                  </a:cubicBezTo>
                  <a:cubicBezTo>
                    <a:pt x="2047" y="2462"/>
                    <a:pt x="2440" y="2087"/>
                    <a:pt x="2446" y="1570"/>
                  </a:cubicBezTo>
                  <a:cubicBezTo>
                    <a:pt x="2453" y="1054"/>
                    <a:pt x="2070" y="669"/>
                    <a:pt x="1591" y="662"/>
                  </a:cubicBezTo>
                  <a:cubicBezTo>
                    <a:pt x="1112" y="656"/>
                    <a:pt x="718" y="1032"/>
                    <a:pt x="712" y="1548"/>
                  </a:cubicBezTo>
                  <a:lnTo>
                    <a:pt x="711" y="1553"/>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a:p>
          </p:txBody>
        </p:sp>
        <p:sp>
          <p:nvSpPr>
            <p:cNvPr id="38" name="Freeform 2">
              <a:extLst>
                <a:ext uri="{FF2B5EF4-FFF2-40B4-BE49-F238E27FC236}">
                  <a16:creationId xmlns:a16="http://schemas.microsoft.com/office/drawing/2014/main" id="{0D6CA37C-4409-CE49-B01C-412025F58AEB}"/>
                </a:ext>
              </a:extLst>
            </p:cNvPr>
            <p:cNvSpPr>
              <a:spLocks noChangeArrowheads="1"/>
            </p:cNvSpPr>
            <p:nvPr/>
          </p:nvSpPr>
          <p:spPr bwMode="auto">
            <a:xfrm>
              <a:off x="5969000" y="3567113"/>
              <a:ext cx="455613" cy="1338262"/>
            </a:xfrm>
            <a:custGeom>
              <a:avLst/>
              <a:gdLst>
                <a:gd name="T0" fmla="*/ 971 w 1264"/>
                <a:gd name="T1" fmla="*/ 3165 h 3717"/>
                <a:gd name="T2" fmla="*/ 765 w 1264"/>
                <a:gd name="T3" fmla="*/ 2983 h 3717"/>
                <a:gd name="T4" fmla="*/ 803 w 1264"/>
                <a:gd name="T5" fmla="*/ 9 h 3717"/>
                <a:gd name="T6" fmla="*/ 101 w 1264"/>
                <a:gd name="T7" fmla="*/ 0 h 3717"/>
                <a:gd name="T8" fmla="*/ 64 w 1264"/>
                <a:gd name="T9" fmla="*/ 2965 h 3717"/>
                <a:gd name="T10" fmla="*/ 696 w 1264"/>
                <a:gd name="T11" fmla="*/ 3708 h 3717"/>
                <a:gd name="T12" fmla="*/ 696 w 1264"/>
                <a:gd name="T13" fmla="*/ 3709 h 3717"/>
                <a:gd name="T14" fmla="*/ 1256 w 1264"/>
                <a:gd name="T15" fmla="*/ 3716 h 3717"/>
                <a:gd name="T16" fmla="*/ 1263 w 1264"/>
                <a:gd name="T17" fmla="*/ 3168 h 3717"/>
                <a:gd name="T18" fmla="*/ 971 w 1264"/>
                <a:gd name="T19" fmla="*/ 3165 h 37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64" h="3717">
                  <a:moveTo>
                    <a:pt x="971" y="3165"/>
                  </a:moveTo>
                  <a:cubicBezTo>
                    <a:pt x="971" y="3165"/>
                    <a:pt x="768" y="3164"/>
                    <a:pt x="765" y="2983"/>
                  </a:cubicBezTo>
                  <a:lnTo>
                    <a:pt x="803" y="9"/>
                  </a:lnTo>
                  <a:lnTo>
                    <a:pt x="101" y="0"/>
                  </a:lnTo>
                  <a:lnTo>
                    <a:pt x="64" y="2965"/>
                  </a:lnTo>
                  <a:cubicBezTo>
                    <a:pt x="64" y="2965"/>
                    <a:pt x="0" y="3699"/>
                    <a:pt x="696" y="3708"/>
                  </a:cubicBezTo>
                  <a:lnTo>
                    <a:pt x="696" y="3709"/>
                  </a:lnTo>
                  <a:lnTo>
                    <a:pt x="1256" y="3716"/>
                  </a:lnTo>
                  <a:lnTo>
                    <a:pt x="1263" y="3168"/>
                  </a:lnTo>
                  <a:lnTo>
                    <a:pt x="971" y="316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a:p>
          </p:txBody>
        </p:sp>
        <p:sp>
          <p:nvSpPr>
            <p:cNvPr id="39" name="Freeform 3">
              <a:extLst>
                <a:ext uri="{FF2B5EF4-FFF2-40B4-BE49-F238E27FC236}">
                  <a16:creationId xmlns:a16="http://schemas.microsoft.com/office/drawing/2014/main" id="{256B5891-349E-694A-86BC-0EB0DB8D54B1}"/>
                </a:ext>
              </a:extLst>
            </p:cNvPr>
            <p:cNvSpPr>
              <a:spLocks noChangeArrowheads="1"/>
            </p:cNvSpPr>
            <p:nvPr/>
          </p:nvSpPr>
          <p:spPr bwMode="auto">
            <a:xfrm>
              <a:off x="3562350" y="3786188"/>
              <a:ext cx="1069975" cy="1127125"/>
            </a:xfrm>
            <a:custGeom>
              <a:avLst/>
              <a:gdLst>
                <a:gd name="T0" fmla="*/ 2366 w 2971"/>
                <a:gd name="T1" fmla="*/ 1976 h 3132"/>
                <a:gd name="T2" fmla="*/ 1569 w 2971"/>
                <a:gd name="T3" fmla="*/ 2468 h 3132"/>
                <a:gd name="T4" fmla="*/ 716 w 2971"/>
                <a:gd name="T5" fmla="*/ 1556 h 3132"/>
                <a:gd name="T6" fmla="*/ 966 w 2971"/>
                <a:gd name="T7" fmla="*/ 910 h 3132"/>
                <a:gd name="T8" fmla="*/ 1593 w 2971"/>
                <a:gd name="T9" fmla="*/ 667 h 3132"/>
                <a:gd name="T10" fmla="*/ 2376 w 2971"/>
                <a:gd name="T11" fmla="*/ 1201 h 3132"/>
                <a:gd name="T12" fmla="*/ 2970 w 2971"/>
                <a:gd name="T13" fmla="*/ 871 h 3132"/>
                <a:gd name="T14" fmla="*/ 1576 w 2971"/>
                <a:gd name="T15" fmla="*/ 12 h 3132"/>
                <a:gd name="T16" fmla="*/ 11 w 2971"/>
                <a:gd name="T17" fmla="*/ 1545 h 3132"/>
                <a:gd name="T18" fmla="*/ 1559 w 2971"/>
                <a:gd name="T19" fmla="*/ 3123 h 3132"/>
                <a:gd name="T20" fmla="*/ 2950 w 2971"/>
                <a:gd name="T21" fmla="*/ 2314 h 3132"/>
                <a:gd name="T22" fmla="*/ 2379 w 2971"/>
                <a:gd name="T23" fmla="*/ 1977 h 3132"/>
                <a:gd name="T24" fmla="*/ 2366 w 2971"/>
                <a:gd name="T25" fmla="*/ 1976 h 3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71" h="3132">
                  <a:moveTo>
                    <a:pt x="2366" y="1976"/>
                  </a:moveTo>
                  <a:cubicBezTo>
                    <a:pt x="2256" y="2216"/>
                    <a:pt x="2006" y="2472"/>
                    <a:pt x="1569" y="2468"/>
                  </a:cubicBezTo>
                  <a:cubicBezTo>
                    <a:pt x="1072" y="2462"/>
                    <a:pt x="710" y="2081"/>
                    <a:pt x="716" y="1556"/>
                  </a:cubicBezTo>
                  <a:cubicBezTo>
                    <a:pt x="720" y="1300"/>
                    <a:pt x="815" y="1064"/>
                    <a:pt x="966" y="910"/>
                  </a:cubicBezTo>
                  <a:cubicBezTo>
                    <a:pt x="1138" y="742"/>
                    <a:pt x="1337" y="657"/>
                    <a:pt x="1593" y="667"/>
                  </a:cubicBezTo>
                  <a:cubicBezTo>
                    <a:pt x="1976" y="670"/>
                    <a:pt x="2254" y="891"/>
                    <a:pt x="2376" y="1201"/>
                  </a:cubicBezTo>
                  <a:lnTo>
                    <a:pt x="2970" y="871"/>
                  </a:lnTo>
                  <a:cubicBezTo>
                    <a:pt x="2716" y="350"/>
                    <a:pt x="2184" y="19"/>
                    <a:pt x="1576" y="12"/>
                  </a:cubicBezTo>
                  <a:cubicBezTo>
                    <a:pt x="696" y="0"/>
                    <a:pt x="22" y="683"/>
                    <a:pt x="11" y="1545"/>
                  </a:cubicBezTo>
                  <a:cubicBezTo>
                    <a:pt x="0" y="2384"/>
                    <a:pt x="634" y="3111"/>
                    <a:pt x="1559" y="3123"/>
                  </a:cubicBezTo>
                  <a:cubicBezTo>
                    <a:pt x="2184" y="3131"/>
                    <a:pt x="2691" y="2793"/>
                    <a:pt x="2950" y="2314"/>
                  </a:cubicBezTo>
                  <a:lnTo>
                    <a:pt x="2379" y="1977"/>
                  </a:lnTo>
                  <a:lnTo>
                    <a:pt x="2366" y="197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a:p>
          </p:txBody>
        </p:sp>
        <p:sp>
          <p:nvSpPr>
            <p:cNvPr id="40" name="Freeform 4">
              <a:extLst>
                <a:ext uri="{FF2B5EF4-FFF2-40B4-BE49-F238E27FC236}">
                  <a16:creationId xmlns:a16="http://schemas.microsoft.com/office/drawing/2014/main" id="{706896CB-4F68-DF47-9241-9F89A8304125}"/>
                </a:ext>
              </a:extLst>
            </p:cNvPr>
            <p:cNvSpPr>
              <a:spLocks noChangeArrowheads="1"/>
            </p:cNvSpPr>
            <p:nvPr/>
          </p:nvSpPr>
          <p:spPr bwMode="auto">
            <a:xfrm>
              <a:off x="6546850" y="3575050"/>
              <a:ext cx="492125" cy="1338263"/>
            </a:xfrm>
            <a:custGeom>
              <a:avLst/>
              <a:gdLst>
                <a:gd name="T0" fmla="*/ 960 w 1365"/>
                <a:gd name="T1" fmla="*/ 3164 h 3718"/>
                <a:gd name="T2" fmla="*/ 753 w 1365"/>
                <a:gd name="T3" fmla="*/ 2983 h 3718"/>
                <a:gd name="T4" fmla="*/ 773 w 1365"/>
                <a:gd name="T5" fmla="*/ 1401 h 3718"/>
                <a:gd name="T6" fmla="*/ 1336 w 1365"/>
                <a:gd name="T7" fmla="*/ 1408 h 3718"/>
                <a:gd name="T8" fmla="*/ 1343 w 1365"/>
                <a:gd name="T9" fmla="*/ 860 h 3718"/>
                <a:gd name="T10" fmla="*/ 780 w 1365"/>
                <a:gd name="T11" fmla="*/ 853 h 3718"/>
                <a:gd name="T12" fmla="*/ 791 w 1365"/>
                <a:gd name="T13" fmla="*/ 9 h 3718"/>
                <a:gd name="T14" fmla="*/ 89 w 1365"/>
                <a:gd name="T15" fmla="*/ 0 h 3718"/>
                <a:gd name="T16" fmla="*/ 51 w 1365"/>
                <a:gd name="T17" fmla="*/ 2965 h 3718"/>
                <a:gd name="T18" fmla="*/ 683 w 1365"/>
                <a:gd name="T19" fmla="*/ 3708 h 3718"/>
                <a:gd name="T20" fmla="*/ 684 w 1365"/>
                <a:gd name="T21" fmla="*/ 3708 h 3718"/>
                <a:gd name="T22" fmla="*/ 1357 w 1365"/>
                <a:gd name="T23" fmla="*/ 3717 h 3718"/>
                <a:gd name="T24" fmla="*/ 1364 w 1365"/>
                <a:gd name="T25" fmla="*/ 3169 h 3718"/>
                <a:gd name="T26" fmla="*/ 960 w 1365"/>
                <a:gd name="T27" fmla="*/ 3164 h 3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65" h="3718">
                  <a:moveTo>
                    <a:pt x="960" y="3164"/>
                  </a:moveTo>
                  <a:cubicBezTo>
                    <a:pt x="960" y="3164"/>
                    <a:pt x="756" y="3164"/>
                    <a:pt x="753" y="2983"/>
                  </a:cubicBezTo>
                  <a:lnTo>
                    <a:pt x="773" y="1401"/>
                  </a:lnTo>
                  <a:lnTo>
                    <a:pt x="1336" y="1408"/>
                  </a:lnTo>
                  <a:lnTo>
                    <a:pt x="1343" y="860"/>
                  </a:lnTo>
                  <a:lnTo>
                    <a:pt x="780" y="853"/>
                  </a:lnTo>
                  <a:lnTo>
                    <a:pt x="791" y="9"/>
                  </a:lnTo>
                  <a:lnTo>
                    <a:pt x="89" y="0"/>
                  </a:lnTo>
                  <a:lnTo>
                    <a:pt x="51" y="2965"/>
                  </a:lnTo>
                  <a:cubicBezTo>
                    <a:pt x="51" y="2965"/>
                    <a:pt x="0" y="3701"/>
                    <a:pt x="683" y="3708"/>
                  </a:cubicBezTo>
                  <a:lnTo>
                    <a:pt x="684" y="3708"/>
                  </a:lnTo>
                  <a:lnTo>
                    <a:pt x="1357" y="3717"/>
                  </a:lnTo>
                  <a:lnTo>
                    <a:pt x="1364" y="3169"/>
                  </a:lnTo>
                  <a:lnTo>
                    <a:pt x="960" y="316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a:p>
          </p:txBody>
        </p:sp>
      </p:grpSp>
      <p:sp>
        <p:nvSpPr>
          <p:cNvPr id="42" name="Title 1">
            <a:extLst>
              <a:ext uri="{FF2B5EF4-FFF2-40B4-BE49-F238E27FC236}">
                <a16:creationId xmlns:a16="http://schemas.microsoft.com/office/drawing/2014/main" id="{A56B6727-99D1-D244-9A76-40B6543CB982}"/>
              </a:ext>
            </a:extLst>
          </p:cNvPr>
          <p:cNvSpPr>
            <a:spLocks noGrp="1"/>
          </p:cNvSpPr>
          <p:nvPr>
            <p:ph type="ctrTitle" hasCustomPrompt="1"/>
          </p:nvPr>
        </p:nvSpPr>
        <p:spPr>
          <a:xfrm>
            <a:off x="1343025" y="2286000"/>
            <a:ext cx="5616575" cy="1884008"/>
          </a:xfrm>
        </p:spPr>
        <p:txBody>
          <a:bodyPr>
            <a:normAutofit/>
          </a:bodyPr>
          <a:lstStyle>
            <a:lvl1pPr marL="0" indent="0" algn="l">
              <a:lnSpc>
                <a:spcPct val="100000"/>
              </a:lnSpc>
              <a:buFont typeface="Arial" panose="020B0604020202020204" pitchFamily="34" charset="0"/>
              <a:buNone/>
              <a:defRPr sz="5400" b="1" i="0" baseline="0">
                <a:solidFill>
                  <a:schemeClr val="accent1"/>
                </a:solidFill>
              </a:defRPr>
            </a:lvl1pPr>
          </a:lstStyle>
          <a:p>
            <a:r>
              <a:rPr lang="en-GB" dirty="0"/>
              <a:t>Title Slide</a:t>
            </a:r>
            <a:endParaRPr lang="en-GB" noProof="0" dirty="0"/>
          </a:p>
        </p:txBody>
      </p:sp>
      <p:sp>
        <p:nvSpPr>
          <p:cNvPr id="43" name="Subtitle 2">
            <a:extLst>
              <a:ext uri="{FF2B5EF4-FFF2-40B4-BE49-F238E27FC236}">
                <a16:creationId xmlns:a16="http://schemas.microsoft.com/office/drawing/2014/main" id="{0CD6DA37-4216-B841-81F4-5F83B94D2B01}"/>
              </a:ext>
            </a:extLst>
          </p:cNvPr>
          <p:cNvSpPr>
            <a:spLocks noGrp="1"/>
          </p:cNvSpPr>
          <p:nvPr>
            <p:ph type="subTitle" idx="1"/>
          </p:nvPr>
        </p:nvSpPr>
        <p:spPr>
          <a:xfrm>
            <a:off x="1343025" y="4170008"/>
            <a:ext cx="5597668" cy="1154381"/>
          </a:xfrm>
        </p:spPr>
        <p:txBody>
          <a:bodyPr>
            <a:normAutofit/>
          </a:bodyPr>
          <a:lstStyle>
            <a:lvl1pPr marL="0" indent="0" algn="l">
              <a:lnSpc>
                <a:spcPct val="100000"/>
              </a:lnSpc>
              <a:spcAft>
                <a:spcPts val="0"/>
              </a:spcAft>
              <a:buFont typeface="Arial" panose="020B0604020202020204" pitchFamily="34" charset="0"/>
              <a:buNone/>
              <a:defRPr sz="2800">
                <a:solidFill>
                  <a:schemeClr val="accent4"/>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Click to edit Master subtitle style</a:t>
            </a:r>
            <a:endParaRPr lang="en-GB" noProof="0" dirty="0"/>
          </a:p>
        </p:txBody>
      </p:sp>
      <p:sp>
        <p:nvSpPr>
          <p:cNvPr id="44" name="Date Placeholder 3">
            <a:extLst>
              <a:ext uri="{FF2B5EF4-FFF2-40B4-BE49-F238E27FC236}">
                <a16:creationId xmlns:a16="http://schemas.microsoft.com/office/drawing/2014/main" id="{CCC08D39-FA48-5C4B-A180-FEC3AA1B5B50}"/>
              </a:ext>
            </a:extLst>
          </p:cNvPr>
          <p:cNvSpPr>
            <a:spLocks noGrp="1"/>
          </p:cNvSpPr>
          <p:nvPr>
            <p:ph type="dt" sz="half" idx="10"/>
          </p:nvPr>
        </p:nvSpPr>
        <p:spPr>
          <a:xfrm>
            <a:off x="1343025" y="5324388"/>
            <a:ext cx="3776460" cy="339811"/>
          </a:xfrm>
          <a:prstGeom prst="rect">
            <a:avLst/>
          </a:prstGeom>
        </p:spPr>
        <p:txBody>
          <a:bodyPr lIns="0" anchor="t" anchorCtr="0"/>
          <a:lstStyle>
            <a:lvl1pPr>
              <a:lnSpc>
                <a:spcPts val="1590"/>
              </a:lnSpc>
              <a:defRPr sz="1410" b="1">
                <a:solidFill>
                  <a:schemeClr val="accent6"/>
                </a:solidFill>
              </a:defRPr>
            </a:lvl1pPr>
          </a:lstStyle>
          <a:p>
            <a:r>
              <a:rPr lang="en-GB" dirty="0"/>
              <a:t>Date</a:t>
            </a:r>
          </a:p>
        </p:txBody>
      </p:sp>
    </p:spTree>
    <p:extLst>
      <p:ext uri="{BB962C8B-B14F-4D97-AF65-F5344CB8AC3E}">
        <p14:creationId xmlns:p14="http://schemas.microsoft.com/office/powerpoint/2010/main" val="2190267978"/>
      </p:ext>
    </p:extLst>
  </p:cSld>
  <p:clrMapOvr>
    <a:masterClrMapping/>
  </p:clrMapOvr>
  <p:extLst>
    <p:ext uri="{DCECCB84-F9BA-43D5-87BE-67443E8EF086}">
      <p15:sldGuideLst xmlns:p15="http://schemas.microsoft.com/office/powerpoint/2012/main">
        <p15:guide id="1" orient="horz" pos="3703">
          <p15:clr>
            <a:srgbClr val="FBAE40"/>
          </p15:clr>
        </p15:guide>
        <p15:guide id="2" pos="4384">
          <p15:clr>
            <a:srgbClr val="FBAE40"/>
          </p15:clr>
        </p15:guide>
        <p15:guide id="3" pos="846">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_Call-out + image v3a">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60226914-06EB-2A44-88D7-0C434B022598}"/>
              </a:ext>
            </a:extLst>
          </p:cNvPr>
          <p:cNvPicPr>
            <a:picLocks noChangeAspect="1"/>
          </p:cNvPicPr>
          <p:nvPr userDrawn="1"/>
        </p:nvPicPr>
        <p:blipFill>
          <a:blip r:embed="rId2"/>
          <a:stretch>
            <a:fillRect/>
          </a:stretch>
        </p:blipFill>
        <p:spPr>
          <a:xfrm>
            <a:off x="5724177" y="457200"/>
            <a:ext cx="5943600" cy="5943600"/>
          </a:xfrm>
          <a:prstGeom prst="rect">
            <a:avLst/>
          </a:prstGeom>
        </p:spPr>
      </p:pic>
      <p:sp>
        <p:nvSpPr>
          <p:cNvPr id="7" name="Slide Number Placeholder 6">
            <a:extLst>
              <a:ext uri="{FF2B5EF4-FFF2-40B4-BE49-F238E27FC236}">
                <a16:creationId xmlns:a16="http://schemas.microsoft.com/office/drawing/2014/main" id="{083AA513-3096-463D-86CC-9463654915BB}"/>
              </a:ext>
            </a:extLst>
          </p:cNvPr>
          <p:cNvSpPr>
            <a:spLocks noGrp="1"/>
          </p:cNvSpPr>
          <p:nvPr>
            <p:ph type="sldNum" sz="quarter" idx="14"/>
          </p:nvPr>
        </p:nvSpPr>
        <p:spPr>
          <a:xfrm>
            <a:off x="11278800" y="6400800"/>
            <a:ext cx="442800" cy="226800"/>
          </a:xfrm>
          <a:prstGeom prst="rect">
            <a:avLst/>
          </a:prstGeom>
        </p:spPr>
        <p:txBody>
          <a:bodyPr/>
          <a:lstStyle/>
          <a:p>
            <a:pPr algn="r">
              <a:lnSpc>
                <a:spcPts val="970"/>
              </a:lnSpc>
            </a:pPr>
            <a:fld id="{0B868178-02AE-42FC-958D-6B8F13B60175}" type="slidenum">
              <a:rPr lang="en-GB" smtClean="0"/>
              <a:pPr algn="r">
                <a:lnSpc>
                  <a:spcPts val="970"/>
                </a:lnSpc>
              </a:pPr>
              <a:t>‹#›</a:t>
            </a:fld>
            <a:endParaRPr lang="en-GB" sz="800" noProof="0">
              <a:solidFill>
                <a:schemeClr val="bg1"/>
              </a:solidFill>
            </a:endParaRPr>
          </a:p>
        </p:txBody>
      </p:sp>
      <p:sp>
        <p:nvSpPr>
          <p:cNvPr id="14" name="Title 1">
            <a:extLst>
              <a:ext uri="{FF2B5EF4-FFF2-40B4-BE49-F238E27FC236}">
                <a16:creationId xmlns:a16="http://schemas.microsoft.com/office/drawing/2014/main" id="{ED878C1E-6FBA-4C79-A678-CC522AB6304C}"/>
              </a:ext>
            </a:extLst>
          </p:cNvPr>
          <p:cNvSpPr>
            <a:spLocks noGrp="1"/>
          </p:cNvSpPr>
          <p:nvPr>
            <p:ph type="title"/>
          </p:nvPr>
        </p:nvSpPr>
        <p:spPr>
          <a:xfrm>
            <a:off x="442913" y="1376363"/>
            <a:ext cx="4038687" cy="3245879"/>
          </a:xfrm>
        </p:spPr>
        <p:txBody>
          <a:bodyPr vert="horz" lIns="0" tIns="0" rIns="0" bIns="0" rtlCol="0" anchor="t" anchorCtr="0">
            <a:normAutofit/>
          </a:bodyPr>
          <a:lstStyle>
            <a:lvl1pPr marL="0" indent="0">
              <a:buFont typeface="Arial" panose="020B0604020202020204" pitchFamily="34" charset="0"/>
              <a:buNone/>
              <a:defRPr lang="en-GB" sz="5400" dirty="0"/>
            </a:lvl1pPr>
          </a:lstStyle>
          <a:p>
            <a:pPr lvl="0"/>
            <a:r>
              <a:rPr lang="en-US"/>
              <a:t>Click to edit Master title style</a:t>
            </a:r>
            <a:endParaRPr lang="en-GB" dirty="0"/>
          </a:p>
        </p:txBody>
      </p:sp>
      <p:sp>
        <p:nvSpPr>
          <p:cNvPr id="15" name="Text Placeholder 2">
            <a:extLst>
              <a:ext uri="{FF2B5EF4-FFF2-40B4-BE49-F238E27FC236}">
                <a16:creationId xmlns:a16="http://schemas.microsoft.com/office/drawing/2014/main" id="{1954511D-8D7B-47B9-BEAF-9346F271E02D}"/>
              </a:ext>
            </a:extLst>
          </p:cNvPr>
          <p:cNvSpPr>
            <a:spLocks noGrp="1"/>
          </p:cNvSpPr>
          <p:nvPr>
            <p:ph type="body" idx="1"/>
          </p:nvPr>
        </p:nvSpPr>
        <p:spPr>
          <a:xfrm>
            <a:off x="442913" y="444440"/>
            <a:ext cx="4038687" cy="931923"/>
          </a:xfrm>
        </p:spPr>
        <p:txBody>
          <a:bodyPr vert="horz" lIns="0" tIns="0" rIns="0" bIns="0" rtlCol="0" anchor="t" anchorCtr="0">
            <a:normAutofit/>
          </a:bodyPr>
          <a:lstStyle>
            <a:lvl1pPr marL="0" indent="0">
              <a:buNone/>
              <a:defRPr lang="en-US" sz="2800" smtClean="0">
                <a:solidFill>
                  <a:schemeClr val="accent2"/>
                </a:solidFill>
              </a:defRPr>
            </a:lvl1pPr>
          </a:lstStyle>
          <a:p>
            <a:pPr marL="228600" lvl="0" indent="-228600">
              <a:spcAft>
                <a:spcPts val="0"/>
              </a:spcAft>
            </a:pPr>
            <a:r>
              <a:rPr lang="en-US"/>
              <a:t>Click to edit Master text styles</a:t>
            </a:r>
          </a:p>
        </p:txBody>
      </p:sp>
      <p:sp>
        <p:nvSpPr>
          <p:cNvPr id="18" name="Freeform 128">
            <a:extLst>
              <a:ext uri="{FF2B5EF4-FFF2-40B4-BE49-F238E27FC236}">
                <a16:creationId xmlns:a16="http://schemas.microsoft.com/office/drawing/2014/main" id="{CE295A9A-F92C-4761-AAD6-4B1B875F0FD1}"/>
              </a:ext>
            </a:extLst>
          </p:cNvPr>
          <p:cNvSpPr>
            <a:spLocks noChangeArrowheads="1"/>
          </p:cNvSpPr>
          <p:nvPr/>
        </p:nvSpPr>
        <p:spPr bwMode="auto">
          <a:xfrm>
            <a:off x="11100115" y="3395569"/>
            <a:ext cx="1091885" cy="1863730"/>
          </a:xfrm>
          <a:custGeom>
            <a:avLst/>
            <a:gdLst>
              <a:gd name="T0" fmla="*/ 139 w 257"/>
              <a:gd name="T1" fmla="*/ 31 h 438"/>
              <a:gd name="T2" fmla="*/ 59 w 257"/>
              <a:gd name="T3" fmla="*/ 326 h 438"/>
              <a:gd name="T4" fmla="*/ 256 w 257"/>
              <a:gd name="T5" fmla="*/ 433 h 438"/>
              <a:gd name="T6" fmla="*/ 256 w 257"/>
              <a:gd name="T7" fmla="*/ 2 h 438"/>
              <a:gd name="T8" fmla="*/ 139 w 257"/>
              <a:gd name="T9" fmla="*/ 31 h 438"/>
            </a:gdLst>
            <a:ahLst/>
            <a:cxnLst>
              <a:cxn ang="0">
                <a:pos x="T0" y="T1"/>
              </a:cxn>
              <a:cxn ang="0">
                <a:pos x="T2" y="T3"/>
              </a:cxn>
              <a:cxn ang="0">
                <a:pos x="T4" y="T5"/>
              </a:cxn>
              <a:cxn ang="0">
                <a:pos x="T6" y="T7"/>
              </a:cxn>
              <a:cxn ang="0">
                <a:pos x="T8" y="T9"/>
              </a:cxn>
            </a:cxnLst>
            <a:rect l="0" t="0" r="r" b="b"/>
            <a:pathLst>
              <a:path w="257" h="438">
                <a:moveTo>
                  <a:pt x="139" y="31"/>
                </a:moveTo>
                <a:cubicBezTo>
                  <a:pt x="35" y="90"/>
                  <a:pt x="0" y="222"/>
                  <a:pt x="59" y="326"/>
                </a:cubicBezTo>
                <a:cubicBezTo>
                  <a:pt x="101" y="398"/>
                  <a:pt x="178" y="437"/>
                  <a:pt x="256" y="433"/>
                </a:cubicBezTo>
                <a:lnTo>
                  <a:pt x="256" y="2"/>
                </a:lnTo>
                <a:cubicBezTo>
                  <a:pt x="217" y="0"/>
                  <a:pt x="176" y="9"/>
                  <a:pt x="139" y="31"/>
                </a:cubicBezTo>
              </a:path>
            </a:pathLst>
          </a:custGeom>
          <a:solidFill>
            <a:schemeClr val="accent1">
              <a:alpha val="70000"/>
            </a:schemeClr>
          </a:solidFill>
          <a:ln>
            <a:noFill/>
          </a:ln>
          <a:effectLst/>
        </p:spPr>
        <p:txBody>
          <a:bodyPr wrap="none" anchor="ctr"/>
          <a:lstStyle/>
          <a:p>
            <a:endParaRPr dirty="0"/>
          </a:p>
        </p:txBody>
      </p:sp>
      <p:sp>
        <p:nvSpPr>
          <p:cNvPr id="19" name="Freeform 129">
            <a:extLst>
              <a:ext uri="{FF2B5EF4-FFF2-40B4-BE49-F238E27FC236}">
                <a16:creationId xmlns:a16="http://schemas.microsoft.com/office/drawing/2014/main" id="{F2C31331-5F0B-42EC-8EB9-C13D6A055521}"/>
              </a:ext>
            </a:extLst>
          </p:cNvPr>
          <p:cNvSpPr>
            <a:spLocks noChangeArrowheads="1"/>
          </p:cNvSpPr>
          <p:nvPr/>
        </p:nvSpPr>
        <p:spPr bwMode="auto">
          <a:xfrm>
            <a:off x="4492916" y="0"/>
            <a:ext cx="2070817" cy="1562532"/>
          </a:xfrm>
          <a:custGeom>
            <a:avLst/>
            <a:gdLst>
              <a:gd name="T0" fmla="*/ 50 w 484"/>
              <a:gd name="T1" fmla="*/ 259 h 368"/>
              <a:gd name="T2" fmla="*/ 237 w 484"/>
              <a:gd name="T3" fmla="*/ 367 h 368"/>
              <a:gd name="T4" fmla="*/ 345 w 484"/>
              <a:gd name="T5" fmla="*/ 338 h 368"/>
              <a:gd name="T6" fmla="*/ 424 w 484"/>
              <a:gd name="T7" fmla="*/ 43 h 368"/>
              <a:gd name="T8" fmla="*/ 391 w 484"/>
              <a:gd name="T9" fmla="*/ 0 h 368"/>
              <a:gd name="T10" fmla="*/ 83 w 484"/>
              <a:gd name="T11" fmla="*/ 0 h 368"/>
              <a:gd name="T12" fmla="*/ 50 w 484"/>
              <a:gd name="T13" fmla="*/ 259 h 368"/>
              <a:gd name="T14" fmla="*/ 91 w 484"/>
              <a:gd name="T15" fmla="*/ 112 h 368"/>
              <a:gd name="T16" fmla="*/ 161 w 484"/>
              <a:gd name="T17" fmla="*/ 21 h 368"/>
              <a:gd name="T18" fmla="*/ 237 w 484"/>
              <a:gd name="T19" fmla="*/ 1 h 368"/>
              <a:gd name="T20" fmla="*/ 237 w 484"/>
              <a:gd name="T21" fmla="*/ 1 h 368"/>
              <a:gd name="T22" fmla="*/ 367 w 484"/>
              <a:gd name="T23" fmla="*/ 76 h 368"/>
              <a:gd name="T24" fmla="*/ 382 w 484"/>
              <a:gd name="T25" fmla="*/ 190 h 368"/>
              <a:gd name="T26" fmla="*/ 312 w 484"/>
              <a:gd name="T27" fmla="*/ 282 h 368"/>
              <a:gd name="T28" fmla="*/ 237 w 484"/>
              <a:gd name="T29" fmla="*/ 302 h 368"/>
              <a:gd name="T30" fmla="*/ 106 w 484"/>
              <a:gd name="T31" fmla="*/ 227 h 368"/>
              <a:gd name="T32" fmla="*/ 91 w 484"/>
              <a:gd name="T33" fmla="*/ 112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4" h="368">
                <a:moveTo>
                  <a:pt x="50" y="259"/>
                </a:moveTo>
                <a:cubicBezTo>
                  <a:pt x="90" y="329"/>
                  <a:pt x="162" y="367"/>
                  <a:pt x="237" y="367"/>
                </a:cubicBezTo>
                <a:cubicBezTo>
                  <a:pt x="274" y="367"/>
                  <a:pt x="311" y="358"/>
                  <a:pt x="345" y="338"/>
                </a:cubicBezTo>
                <a:cubicBezTo>
                  <a:pt x="448" y="279"/>
                  <a:pt x="483" y="147"/>
                  <a:pt x="424" y="43"/>
                </a:cubicBezTo>
                <a:cubicBezTo>
                  <a:pt x="414" y="27"/>
                  <a:pt x="403" y="13"/>
                  <a:pt x="391" y="0"/>
                </a:cubicBezTo>
                <a:lnTo>
                  <a:pt x="83" y="0"/>
                </a:lnTo>
                <a:cubicBezTo>
                  <a:pt x="16" y="67"/>
                  <a:pt x="0" y="173"/>
                  <a:pt x="50" y="259"/>
                </a:cubicBezTo>
                <a:close/>
                <a:moveTo>
                  <a:pt x="91" y="112"/>
                </a:moveTo>
                <a:cubicBezTo>
                  <a:pt x="102" y="73"/>
                  <a:pt x="127" y="41"/>
                  <a:pt x="161" y="21"/>
                </a:cubicBezTo>
                <a:cubicBezTo>
                  <a:pt x="184" y="8"/>
                  <a:pt x="210" y="1"/>
                  <a:pt x="237" y="1"/>
                </a:cubicBezTo>
                <a:lnTo>
                  <a:pt x="237" y="1"/>
                </a:lnTo>
                <a:cubicBezTo>
                  <a:pt x="290" y="1"/>
                  <a:pt x="340" y="30"/>
                  <a:pt x="367" y="76"/>
                </a:cubicBezTo>
                <a:cubicBezTo>
                  <a:pt x="387" y="111"/>
                  <a:pt x="393" y="151"/>
                  <a:pt x="382" y="190"/>
                </a:cubicBezTo>
                <a:cubicBezTo>
                  <a:pt x="372" y="229"/>
                  <a:pt x="347" y="262"/>
                  <a:pt x="312" y="282"/>
                </a:cubicBezTo>
                <a:cubicBezTo>
                  <a:pt x="289" y="295"/>
                  <a:pt x="263" y="302"/>
                  <a:pt x="237" y="302"/>
                </a:cubicBezTo>
                <a:cubicBezTo>
                  <a:pt x="183" y="302"/>
                  <a:pt x="133" y="273"/>
                  <a:pt x="106" y="227"/>
                </a:cubicBezTo>
                <a:cubicBezTo>
                  <a:pt x="86" y="192"/>
                  <a:pt x="81" y="151"/>
                  <a:pt x="91" y="112"/>
                </a:cubicBezTo>
                <a:close/>
              </a:path>
            </a:pathLst>
          </a:custGeom>
          <a:solidFill>
            <a:schemeClr val="accent6"/>
          </a:solidFill>
          <a:ln>
            <a:noFill/>
          </a:ln>
          <a:effectLst/>
        </p:spPr>
        <p:txBody>
          <a:bodyPr wrap="none" anchor="ctr"/>
          <a:lstStyle/>
          <a:p>
            <a:endParaRPr dirty="0"/>
          </a:p>
        </p:txBody>
      </p:sp>
      <p:sp>
        <p:nvSpPr>
          <p:cNvPr id="20" name="Freeform 130">
            <a:extLst>
              <a:ext uri="{FF2B5EF4-FFF2-40B4-BE49-F238E27FC236}">
                <a16:creationId xmlns:a16="http://schemas.microsoft.com/office/drawing/2014/main" id="{4476D3D8-F118-4988-A37C-3E372C844E57}"/>
              </a:ext>
            </a:extLst>
          </p:cNvPr>
          <p:cNvSpPr>
            <a:spLocks noChangeArrowheads="1"/>
          </p:cNvSpPr>
          <p:nvPr/>
        </p:nvSpPr>
        <p:spPr bwMode="auto">
          <a:xfrm>
            <a:off x="5923662" y="5220166"/>
            <a:ext cx="3840425" cy="1637834"/>
          </a:xfrm>
          <a:custGeom>
            <a:avLst/>
            <a:gdLst>
              <a:gd name="T0" fmla="*/ 851 w 898"/>
              <a:gd name="T1" fmla="*/ 139 h 382"/>
              <a:gd name="T2" fmla="*/ 556 w 898"/>
              <a:gd name="T3" fmla="*/ 60 h 382"/>
              <a:gd name="T4" fmla="*/ 0 w 898"/>
              <a:gd name="T5" fmla="*/ 381 h 382"/>
              <a:gd name="T6" fmla="*/ 833 w 898"/>
              <a:gd name="T7" fmla="*/ 381 h 382"/>
              <a:gd name="T8" fmla="*/ 851 w 898"/>
              <a:gd name="T9" fmla="*/ 139 h 382"/>
            </a:gdLst>
            <a:ahLst/>
            <a:cxnLst>
              <a:cxn ang="0">
                <a:pos x="T0" y="T1"/>
              </a:cxn>
              <a:cxn ang="0">
                <a:pos x="T2" y="T3"/>
              </a:cxn>
              <a:cxn ang="0">
                <a:pos x="T4" y="T5"/>
              </a:cxn>
              <a:cxn ang="0">
                <a:pos x="T6" y="T7"/>
              </a:cxn>
              <a:cxn ang="0">
                <a:pos x="T8" y="T9"/>
              </a:cxn>
            </a:cxnLst>
            <a:rect l="0" t="0" r="r" b="b"/>
            <a:pathLst>
              <a:path w="898" h="382">
                <a:moveTo>
                  <a:pt x="851" y="139"/>
                </a:moveTo>
                <a:cubicBezTo>
                  <a:pt x="791" y="35"/>
                  <a:pt x="659" y="0"/>
                  <a:pt x="556" y="60"/>
                </a:cubicBezTo>
                <a:lnTo>
                  <a:pt x="0" y="381"/>
                </a:lnTo>
                <a:lnTo>
                  <a:pt x="833" y="381"/>
                </a:lnTo>
                <a:cubicBezTo>
                  <a:pt x="887" y="314"/>
                  <a:pt x="897" y="218"/>
                  <a:pt x="851" y="139"/>
                </a:cubicBezTo>
              </a:path>
            </a:pathLst>
          </a:custGeom>
          <a:solidFill>
            <a:schemeClr val="accent1">
              <a:alpha val="40000"/>
            </a:schemeClr>
          </a:solidFill>
          <a:ln>
            <a:noFill/>
          </a:ln>
          <a:effectLst/>
        </p:spPr>
        <p:txBody>
          <a:bodyPr wrap="none" anchor="ctr"/>
          <a:lstStyle/>
          <a:p>
            <a:endParaRPr dirty="0"/>
          </a:p>
        </p:txBody>
      </p:sp>
    </p:spTree>
    <p:extLst>
      <p:ext uri="{BB962C8B-B14F-4D97-AF65-F5344CB8AC3E}">
        <p14:creationId xmlns:p14="http://schemas.microsoft.com/office/powerpoint/2010/main" val="433110300"/>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E12119-86A6-4E7D-9337-BB0BB386B3C7}"/>
              </a:ext>
            </a:extLst>
          </p:cNvPr>
          <p:cNvSpPr>
            <a:spLocks noGrp="1"/>
          </p:cNvSpPr>
          <p:nvPr>
            <p:ph type="title"/>
          </p:nvPr>
        </p:nvSpPr>
        <p:spPr/>
        <p:txBody>
          <a:bodyPr/>
          <a:lstStyle/>
          <a:p>
            <a:r>
              <a:rPr lang="en-US"/>
              <a:t>Click to edit Master title style</a:t>
            </a:r>
            <a:endParaRPr lang="en-GB"/>
          </a:p>
        </p:txBody>
      </p:sp>
      <p:sp>
        <p:nvSpPr>
          <p:cNvPr id="5" name="Slide Number Placeholder 4">
            <a:extLst>
              <a:ext uri="{FF2B5EF4-FFF2-40B4-BE49-F238E27FC236}">
                <a16:creationId xmlns:a16="http://schemas.microsoft.com/office/drawing/2014/main" id="{95620BF2-5E13-462E-84D6-168F0AE43F14}"/>
              </a:ext>
            </a:extLst>
          </p:cNvPr>
          <p:cNvSpPr>
            <a:spLocks noGrp="1"/>
          </p:cNvSpPr>
          <p:nvPr>
            <p:ph type="sldNum" sz="quarter" idx="12"/>
          </p:nvPr>
        </p:nvSpPr>
        <p:spPr>
          <a:xfrm>
            <a:off x="11278800" y="6400800"/>
            <a:ext cx="442800" cy="226800"/>
          </a:xfrm>
        </p:spPr>
        <p:txBody>
          <a:bodyPr vert="horz" lIns="0" tIns="0" rIns="0" bIns="0" rtlCol="0" anchor="t" anchorCtr="0">
            <a:noAutofit/>
          </a:bodyPr>
          <a:lstStyle>
            <a:lvl1pPr>
              <a:defRPr lang="en-GB" smtClean="0"/>
            </a:lvl1pPr>
          </a:lstStyle>
          <a:p>
            <a:pPr algn="r">
              <a:lnSpc>
                <a:spcPts val="970"/>
              </a:lnSpc>
            </a:pPr>
            <a:fld id="{24A935F8-6F02-46CF-898B-F9D6B7DB9D8E}" type="slidenum">
              <a:rPr lang="en-GB" smtClean="0"/>
              <a:pPr algn="r">
                <a:lnSpc>
                  <a:spcPts val="970"/>
                </a:lnSpc>
              </a:pPr>
              <a:t>‹#›</a:t>
            </a:fld>
            <a:endParaRPr lang="en-GB"/>
          </a:p>
        </p:txBody>
      </p:sp>
    </p:spTree>
    <p:extLst>
      <p:ext uri="{BB962C8B-B14F-4D97-AF65-F5344CB8AC3E}">
        <p14:creationId xmlns:p14="http://schemas.microsoft.com/office/powerpoint/2010/main" val="161347925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5E786DCD-3892-42DF-9819-C1068BCF4A64}"/>
              </a:ext>
            </a:extLst>
          </p:cNvPr>
          <p:cNvSpPr>
            <a:spLocks noGrp="1"/>
          </p:cNvSpPr>
          <p:nvPr>
            <p:ph type="sldNum" sz="quarter" idx="12"/>
          </p:nvPr>
        </p:nvSpPr>
        <p:spPr>
          <a:xfrm>
            <a:off x="11278800" y="6400800"/>
            <a:ext cx="442800" cy="226800"/>
          </a:xfrm>
        </p:spPr>
        <p:txBody>
          <a:bodyPr vert="horz" lIns="0" tIns="0" rIns="0" bIns="0" rtlCol="0" anchor="t" anchorCtr="0">
            <a:noAutofit/>
          </a:bodyPr>
          <a:lstStyle>
            <a:lvl1pPr>
              <a:defRPr lang="en-GB" smtClean="0"/>
            </a:lvl1pPr>
          </a:lstStyle>
          <a:p>
            <a:pPr algn="r">
              <a:lnSpc>
                <a:spcPts val="970"/>
              </a:lnSpc>
            </a:pPr>
            <a:fld id="{24A935F8-6F02-46CF-898B-F9D6B7DB9D8E}" type="slidenum">
              <a:rPr lang="en-GB" smtClean="0"/>
              <a:pPr algn="r">
                <a:lnSpc>
                  <a:spcPts val="970"/>
                </a:lnSpc>
              </a:pPr>
              <a:t>‹#›</a:t>
            </a:fld>
            <a:endParaRPr lang="en-GB"/>
          </a:p>
        </p:txBody>
      </p:sp>
    </p:spTree>
    <p:extLst>
      <p:ext uri="{BB962C8B-B14F-4D97-AF65-F5344CB8AC3E}">
        <p14:creationId xmlns:p14="http://schemas.microsoft.com/office/powerpoint/2010/main" val="322237150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 + image">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a:xfrm>
            <a:off x="11278800" y="6400800"/>
            <a:ext cx="442800" cy="226800"/>
          </a:xfrm>
          <a:prstGeom prst="rect">
            <a:avLst/>
          </a:prstGeom>
        </p:spPr>
        <p:txBody>
          <a:bodyPr/>
          <a:lstStyle>
            <a:lvl1pPr algn="r">
              <a:defRPr/>
            </a:lvl1pPr>
          </a:lstStyle>
          <a:p>
            <a:pPr algn="r"/>
            <a:fld id="{0B868178-02AE-42FC-958D-6B8F13B60175}" type="slidenum">
              <a:rPr lang="en-GB" smtClean="0"/>
              <a:pPr/>
              <a:t>‹#›</a:t>
            </a:fld>
            <a:endParaRPr lang="en-GB"/>
          </a:p>
        </p:txBody>
      </p:sp>
      <p:sp>
        <p:nvSpPr>
          <p:cNvPr id="10" name="Picture Placeholder 9">
            <a:extLst>
              <a:ext uri="{FF2B5EF4-FFF2-40B4-BE49-F238E27FC236}">
                <a16:creationId xmlns:a16="http://schemas.microsoft.com/office/drawing/2014/main" id="{78197322-D7FA-408C-A0C4-BF46DABA7259}"/>
              </a:ext>
            </a:extLst>
          </p:cNvPr>
          <p:cNvSpPr>
            <a:spLocks noGrp="1"/>
          </p:cNvSpPr>
          <p:nvPr>
            <p:ph type="pic" sz="quarter" idx="14"/>
          </p:nvPr>
        </p:nvSpPr>
        <p:spPr>
          <a:xfrm>
            <a:off x="5774400" y="457200"/>
            <a:ext cx="5943600" cy="5943600"/>
          </a:xfrm>
          <a:prstGeom prst="ellipse">
            <a:avLst/>
          </a:prstGeom>
          <a:solidFill>
            <a:schemeClr val="accent1">
              <a:alpha val="15000"/>
            </a:schemeClr>
          </a:solidFill>
        </p:spPr>
        <p:txBody>
          <a:bodyPr/>
          <a:lstStyle>
            <a:lvl1pPr marL="0" indent="0" algn="ctr">
              <a:buNone/>
              <a:defRPr>
                <a:solidFill>
                  <a:schemeClr val="accent2"/>
                </a:solidFill>
              </a:defRPr>
            </a:lvl1pPr>
          </a:lstStyle>
          <a:p>
            <a:r>
              <a:rPr lang="en-US"/>
              <a:t>Click icon to add picture</a:t>
            </a:r>
            <a:endParaRPr lang="en-GB" dirty="0"/>
          </a:p>
        </p:txBody>
      </p:sp>
      <p:sp>
        <p:nvSpPr>
          <p:cNvPr id="3" name="Title 2">
            <a:extLst>
              <a:ext uri="{FF2B5EF4-FFF2-40B4-BE49-F238E27FC236}">
                <a16:creationId xmlns:a16="http://schemas.microsoft.com/office/drawing/2014/main" id="{DE094B15-835E-4329-B278-BE639DAB2533}"/>
              </a:ext>
            </a:extLst>
          </p:cNvPr>
          <p:cNvSpPr>
            <a:spLocks noGrp="1"/>
          </p:cNvSpPr>
          <p:nvPr>
            <p:ph type="title"/>
          </p:nvPr>
        </p:nvSpPr>
        <p:spPr>
          <a:xfrm>
            <a:off x="442913" y="441326"/>
            <a:ext cx="5653087" cy="935038"/>
          </a:xfrm>
        </p:spPr>
        <p:txBody>
          <a:bodyPr/>
          <a:lstStyle/>
          <a:p>
            <a:r>
              <a:rPr lang="en-US"/>
              <a:t>Click to edit Master title style</a:t>
            </a:r>
            <a:endParaRPr lang="en-GB"/>
          </a:p>
        </p:txBody>
      </p:sp>
      <p:sp>
        <p:nvSpPr>
          <p:cNvPr id="5" name="Content Placeholder 4">
            <a:extLst>
              <a:ext uri="{FF2B5EF4-FFF2-40B4-BE49-F238E27FC236}">
                <a16:creationId xmlns:a16="http://schemas.microsoft.com/office/drawing/2014/main" id="{228FA973-368D-4BDC-95C3-8DAF4528014E}"/>
              </a:ext>
            </a:extLst>
          </p:cNvPr>
          <p:cNvSpPr>
            <a:spLocks noGrp="1"/>
          </p:cNvSpPr>
          <p:nvPr>
            <p:ph sz="quarter" idx="15"/>
          </p:nvPr>
        </p:nvSpPr>
        <p:spPr>
          <a:xfrm>
            <a:off x="442913" y="1376363"/>
            <a:ext cx="4860999" cy="47894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41152668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Quote + image">
    <p:spTree>
      <p:nvGrpSpPr>
        <p:cNvPr id="1" name=""/>
        <p:cNvGrpSpPr/>
        <p:nvPr/>
      </p:nvGrpSpPr>
      <p:grpSpPr>
        <a:xfrm>
          <a:off x="0" y="0"/>
          <a:ext cx="0" cy="0"/>
          <a:chOff x="0" y="0"/>
          <a:chExt cx="0" cy="0"/>
        </a:xfrm>
      </p:grpSpPr>
      <p:sp>
        <p:nvSpPr>
          <p:cNvPr id="33" name="Picture Placeholder 32">
            <a:extLst>
              <a:ext uri="{FF2B5EF4-FFF2-40B4-BE49-F238E27FC236}">
                <a16:creationId xmlns:a16="http://schemas.microsoft.com/office/drawing/2014/main" id="{EE305B53-48B4-42B8-8B37-FBD05A465604}"/>
              </a:ext>
            </a:extLst>
          </p:cNvPr>
          <p:cNvSpPr>
            <a:spLocks noGrp="1"/>
          </p:cNvSpPr>
          <p:nvPr>
            <p:ph type="pic" sz="quarter" idx="19"/>
          </p:nvPr>
        </p:nvSpPr>
        <p:spPr>
          <a:xfrm>
            <a:off x="5623200" y="-11873"/>
            <a:ext cx="6569090" cy="6869874"/>
          </a:xfrm>
          <a:custGeom>
            <a:avLst/>
            <a:gdLst>
              <a:gd name="connsiteX0" fmla="*/ 6563422 w 6569090"/>
              <a:gd name="connsiteY0" fmla="*/ 0 h 6869874"/>
              <a:gd name="connsiteX1" fmla="*/ 6568813 w 6569090"/>
              <a:gd name="connsiteY1" fmla="*/ 3429020 h 6869874"/>
              <a:gd name="connsiteX2" fmla="*/ 6563424 w 6569090"/>
              <a:gd name="connsiteY2" fmla="*/ 6869874 h 6869874"/>
              <a:gd name="connsiteX3" fmla="*/ 5598102 w 6569090"/>
              <a:gd name="connsiteY3" fmla="*/ 6863247 h 6869874"/>
              <a:gd name="connsiteX4" fmla="*/ 5593432 w 6569090"/>
              <a:gd name="connsiteY4" fmla="*/ 6869873 h 6869874"/>
              <a:gd name="connsiteX5" fmla="*/ 694321 w 6569090"/>
              <a:gd name="connsiteY5" fmla="*/ 6869873 h 6869874"/>
              <a:gd name="connsiteX6" fmla="*/ 536925 w 6569090"/>
              <a:gd name="connsiteY6" fmla="*/ 6646564 h 6869874"/>
              <a:gd name="connsiteX7" fmla="*/ 0 w 6569090"/>
              <a:gd name="connsiteY7" fmla="*/ 4781674 h 6869874"/>
              <a:gd name="connsiteX8" fmla="*/ 1144079 w 6569090"/>
              <a:gd name="connsiteY8" fmla="*/ 2207868 h 6869874"/>
              <a:gd name="connsiteX9" fmla="*/ 1295043 w 6569090"/>
              <a:gd name="connsiteY9" fmla="*/ 2088100 h 6869874"/>
              <a:gd name="connsiteX10" fmla="*/ 1291950 w 6569090"/>
              <a:gd name="connsiteY10" fmla="*/ 2080019 h 6869874"/>
              <a:gd name="connsiteX11" fmla="*/ 4769510 w 6569090"/>
              <a:gd name="connsiteY11" fmla="*/ 7088 h 6869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569090" h="6869874">
                <a:moveTo>
                  <a:pt x="6563422" y="0"/>
                </a:moveTo>
                <a:cubicBezTo>
                  <a:pt x="6565219" y="1143007"/>
                  <a:pt x="6567016" y="2286013"/>
                  <a:pt x="6568813" y="3429020"/>
                </a:cubicBezTo>
                <a:cubicBezTo>
                  <a:pt x="6570796" y="4575972"/>
                  <a:pt x="6561440" y="5722923"/>
                  <a:pt x="6563424" y="6869874"/>
                </a:cubicBezTo>
                <a:lnTo>
                  <a:pt x="5598102" y="6863247"/>
                </a:lnTo>
                <a:lnTo>
                  <a:pt x="5593432" y="6869873"/>
                </a:lnTo>
                <a:lnTo>
                  <a:pt x="694321" y="6869873"/>
                </a:lnTo>
                <a:lnTo>
                  <a:pt x="536925" y="6646564"/>
                </a:lnTo>
                <a:cubicBezTo>
                  <a:pt x="197939" y="6114220"/>
                  <a:pt x="0" y="5472471"/>
                  <a:pt x="0" y="4781674"/>
                </a:cubicBezTo>
                <a:cubicBezTo>
                  <a:pt x="0" y="3745478"/>
                  <a:pt x="445361" y="2819641"/>
                  <a:pt x="1144079" y="2207868"/>
                </a:cubicBezTo>
                <a:lnTo>
                  <a:pt x="1295043" y="2088100"/>
                </a:lnTo>
                <a:lnTo>
                  <a:pt x="1291950" y="2080019"/>
                </a:lnTo>
                <a:cubicBezTo>
                  <a:pt x="2479713" y="1245077"/>
                  <a:pt x="3562699" y="694900"/>
                  <a:pt x="4769510" y="7088"/>
                </a:cubicBezTo>
                <a:close/>
              </a:path>
            </a:pathLst>
          </a:custGeom>
          <a:solidFill>
            <a:schemeClr val="accent1">
              <a:alpha val="15000"/>
            </a:schemeClr>
          </a:solidFill>
          <a:ln>
            <a:noFill/>
          </a:ln>
        </p:spPr>
        <p:txBody>
          <a:bodyPr wrap="square">
            <a:noAutofit/>
          </a:bodyPr>
          <a:lstStyle>
            <a:lvl1pPr marL="0" indent="0" algn="r">
              <a:buNone/>
              <a:defRPr>
                <a:solidFill>
                  <a:schemeClr val="accent2"/>
                </a:solidFill>
              </a:defRPr>
            </a:lvl1pPr>
          </a:lstStyle>
          <a:p>
            <a:r>
              <a:rPr lang="en-US"/>
              <a:t>Click icon to add picture</a:t>
            </a:r>
            <a:endParaRPr lang="en-GB"/>
          </a:p>
        </p:txBody>
      </p:sp>
      <p:sp>
        <p:nvSpPr>
          <p:cNvPr id="7" name="Slide Number Placeholder 6">
            <a:extLst>
              <a:ext uri="{FF2B5EF4-FFF2-40B4-BE49-F238E27FC236}">
                <a16:creationId xmlns:a16="http://schemas.microsoft.com/office/drawing/2014/main" id="{083AA513-3096-463D-86CC-9463654915BB}"/>
              </a:ext>
            </a:extLst>
          </p:cNvPr>
          <p:cNvSpPr>
            <a:spLocks noGrp="1"/>
          </p:cNvSpPr>
          <p:nvPr>
            <p:ph type="sldNum" sz="quarter" idx="14"/>
          </p:nvPr>
        </p:nvSpPr>
        <p:spPr>
          <a:xfrm>
            <a:off x="11278800" y="6400800"/>
            <a:ext cx="442800" cy="226800"/>
          </a:xfrm>
          <a:prstGeom prst="rect">
            <a:avLst/>
          </a:prstGeom>
        </p:spPr>
        <p:txBody>
          <a:bodyPr/>
          <a:lstStyle/>
          <a:p>
            <a:pPr algn="r">
              <a:lnSpc>
                <a:spcPts val="970"/>
              </a:lnSpc>
            </a:pPr>
            <a:fld id="{0B868178-02AE-42FC-958D-6B8F13B60175}" type="slidenum">
              <a:rPr lang="en-GB" smtClean="0"/>
              <a:pPr algn="r">
                <a:lnSpc>
                  <a:spcPts val="970"/>
                </a:lnSpc>
              </a:pPr>
              <a:t>‹#›</a:t>
            </a:fld>
            <a:endParaRPr lang="en-GB" sz="800" noProof="0">
              <a:solidFill>
                <a:schemeClr val="bg1"/>
              </a:solidFill>
            </a:endParaRPr>
          </a:p>
        </p:txBody>
      </p:sp>
      <p:sp>
        <p:nvSpPr>
          <p:cNvPr id="3" name="Title 2">
            <a:extLst>
              <a:ext uri="{FF2B5EF4-FFF2-40B4-BE49-F238E27FC236}">
                <a16:creationId xmlns:a16="http://schemas.microsoft.com/office/drawing/2014/main" id="{E980F9A7-5884-45A2-8D6E-4AD7C3B3CB52}"/>
              </a:ext>
            </a:extLst>
          </p:cNvPr>
          <p:cNvSpPr>
            <a:spLocks noGrp="1"/>
          </p:cNvSpPr>
          <p:nvPr>
            <p:ph type="title"/>
          </p:nvPr>
        </p:nvSpPr>
        <p:spPr>
          <a:xfrm>
            <a:off x="442913" y="441326"/>
            <a:ext cx="5653087" cy="935038"/>
          </a:xfrm>
        </p:spPr>
        <p:txBody>
          <a:bodyPr/>
          <a:lstStyle/>
          <a:p>
            <a:r>
              <a:rPr lang="en-US"/>
              <a:t>Click to edit Master title style</a:t>
            </a:r>
            <a:endParaRPr lang="en-GB"/>
          </a:p>
        </p:txBody>
      </p:sp>
      <p:sp>
        <p:nvSpPr>
          <p:cNvPr id="8" name="Content Placeholder 7">
            <a:extLst>
              <a:ext uri="{FF2B5EF4-FFF2-40B4-BE49-F238E27FC236}">
                <a16:creationId xmlns:a16="http://schemas.microsoft.com/office/drawing/2014/main" id="{670AE94C-C552-4D8A-93EF-1722473282D0}"/>
              </a:ext>
            </a:extLst>
          </p:cNvPr>
          <p:cNvSpPr>
            <a:spLocks noGrp="1"/>
          </p:cNvSpPr>
          <p:nvPr>
            <p:ph sz="quarter" idx="20"/>
          </p:nvPr>
        </p:nvSpPr>
        <p:spPr>
          <a:xfrm>
            <a:off x="442911" y="1376364"/>
            <a:ext cx="4861001" cy="478948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120054338"/>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Quote + image">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083AA513-3096-463D-86CC-9463654915BB}"/>
              </a:ext>
            </a:extLst>
          </p:cNvPr>
          <p:cNvSpPr>
            <a:spLocks noGrp="1"/>
          </p:cNvSpPr>
          <p:nvPr>
            <p:ph type="sldNum" sz="quarter" idx="14"/>
          </p:nvPr>
        </p:nvSpPr>
        <p:spPr>
          <a:xfrm>
            <a:off x="11278800" y="6400800"/>
            <a:ext cx="442800" cy="226800"/>
          </a:xfrm>
          <a:prstGeom prst="rect">
            <a:avLst/>
          </a:prstGeom>
        </p:spPr>
        <p:txBody>
          <a:bodyPr/>
          <a:lstStyle/>
          <a:p>
            <a:pPr algn="r">
              <a:lnSpc>
                <a:spcPts val="970"/>
              </a:lnSpc>
            </a:pPr>
            <a:fld id="{0B868178-02AE-42FC-958D-6B8F13B60175}" type="slidenum">
              <a:rPr lang="en-GB" smtClean="0"/>
              <a:pPr algn="r">
                <a:lnSpc>
                  <a:spcPts val="970"/>
                </a:lnSpc>
              </a:pPr>
              <a:t>‹#›</a:t>
            </a:fld>
            <a:endParaRPr lang="en-GB" sz="800" noProof="0">
              <a:solidFill>
                <a:schemeClr val="bg1"/>
              </a:solidFill>
            </a:endParaRPr>
          </a:p>
        </p:txBody>
      </p:sp>
      <p:sp>
        <p:nvSpPr>
          <p:cNvPr id="3" name="Title 2">
            <a:extLst>
              <a:ext uri="{FF2B5EF4-FFF2-40B4-BE49-F238E27FC236}">
                <a16:creationId xmlns:a16="http://schemas.microsoft.com/office/drawing/2014/main" id="{E980F9A7-5884-45A2-8D6E-4AD7C3B3CB52}"/>
              </a:ext>
            </a:extLst>
          </p:cNvPr>
          <p:cNvSpPr>
            <a:spLocks noGrp="1"/>
          </p:cNvSpPr>
          <p:nvPr>
            <p:ph type="title"/>
          </p:nvPr>
        </p:nvSpPr>
        <p:spPr>
          <a:xfrm>
            <a:off x="442913" y="441326"/>
            <a:ext cx="5653087" cy="935038"/>
          </a:xfrm>
        </p:spPr>
        <p:txBody>
          <a:bodyPr/>
          <a:lstStyle/>
          <a:p>
            <a:r>
              <a:rPr lang="en-US"/>
              <a:t>Click to edit Master title style</a:t>
            </a:r>
            <a:endParaRPr lang="en-GB"/>
          </a:p>
        </p:txBody>
      </p:sp>
      <p:sp>
        <p:nvSpPr>
          <p:cNvPr id="8" name="Content Placeholder 7">
            <a:extLst>
              <a:ext uri="{FF2B5EF4-FFF2-40B4-BE49-F238E27FC236}">
                <a16:creationId xmlns:a16="http://schemas.microsoft.com/office/drawing/2014/main" id="{670AE94C-C552-4D8A-93EF-1722473282D0}"/>
              </a:ext>
            </a:extLst>
          </p:cNvPr>
          <p:cNvSpPr>
            <a:spLocks noGrp="1"/>
          </p:cNvSpPr>
          <p:nvPr>
            <p:ph sz="quarter" idx="20"/>
          </p:nvPr>
        </p:nvSpPr>
        <p:spPr>
          <a:xfrm>
            <a:off x="442911" y="1376364"/>
            <a:ext cx="4861001" cy="478948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3" name="Picture 12">
            <a:extLst>
              <a:ext uri="{FF2B5EF4-FFF2-40B4-BE49-F238E27FC236}">
                <a16:creationId xmlns:a16="http://schemas.microsoft.com/office/drawing/2014/main" id="{157CABCD-09F2-E141-9D5B-869ECB1A6815}"/>
              </a:ext>
            </a:extLst>
          </p:cNvPr>
          <p:cNvPicPr>
            <a:picLocks noChangeAspect="1"/>
          </p:cNvPicPr>
          <p:nvPr userDrawn="1"/>
        </p:nvPicPr>
        <p:blipFill>
          <a:blip r:embed="rId2"/>
          <a:stretch>
            <a:fillRect/>
          </a:stretch>
        </p:blipFill>
        <p:spPr>
          <a:xfrm>
            <a:off x="5313350" y="0"/>
            <a:ext cx="6908706" cy="6858000"/>
          </a:xfrm>
          <a:prstGeom prst="rect">
            <a:avLst/>
          </a:prstGeom>
        </p:spPr>
      </p:pic>
      <p:grpSp>
        <p:nvGrpSpPr>
          <p:cNvPr id="14" name="Group 13">
            <a:extLst>
              <a:ext uri="{FF2B5EF4-FFF2-40B4-BE49-F238E27FC236}">
                <a16:creationId xmlns:a16="http://schemas.microsoft.com/office/drawing/2014/main" id="{6B4D1ED3-09B7-8E43-B9E0-217ECB8BF26A}"/>
              </a:ext>
            </a:extLst>
          </p:cNvPr>
          <p:cNvGrpSpPr/>
          <p:nvPr userDrawn="1"/>
        </p:nvGrpSpPr>
        <p:grpSpPr>
          <a:xfrm>
            <a:off x="5281643" y="0"/>
            <a:ext cx="6940409" cy="6857999"/>
            <a:chOff x="5965212" y="5257800"/>
            <a:chExt cx="586401" cy="579438"/>
          </a:xfrm>
        </p:grpSpPr>
        <p:sp>
          <p:nvSpPr>
            <p:cNvPr id="15" name="Freeform 106">
              <a:extLst>
                <a:ext uri="{FF2B5EF4-FFF2-40B4-BE49-F238E27FC236}">
                  <a16:creationId xmlns:a16="http://schemas.microsoft.com/office/drawing/2014/main" id="{EE4CDB85-E992-C34A-A0AD-63D62CE9F435}"/>
                </a:ext>
              </a:extLst>
            </p:cNvPr>
            <p:cNvSpPr>
              <a:spLocks noChangeArrowheads="1"/>
            </p:cNvSpPr>
            <p:nvPr/>
          </p:nvSpPr>
          <p:spPr bwMode="auto">
            <a:xfrm>
              <a:off x="5965212" y="5257800"/>
              <a:ext cx="174625" cy="131763"/>
            </a:xfrm>
            <a:custGeom>
              <a:avLst/>
              <a:gdLst>
                <a:gd name="T0" fmla="*/ 50 w 485"/>
                <a:gd name="T1" fmla="*/ 259 h 368"/>
                <a:gd name="T2" fmla="*/ 237 w 485"/>
                <a:gd name="T3" fmla="*/ 367 h 368"/>
                <a:gd name="T4" fmla="*/ 345 w 485"/>
                <a:gd name="T5" fmla="*/ 338 h 368"/>
                <a:gd name="T6" fmla="*/ 424 w 485"/>
                <a:gd name="T7" fmla="*/ 43 h 368"/>
                <a:gd name="T8" fmla="*/ 391 w 485"/>
                <a:gd name="T9" fmla="*/ 0 h 368"/>
                <a:gd name="T10" fmla="*/ 83 w 485"/>
                <a:gd name="T11" fmla="*/ 0 h 368"/>
                <a:gd name="T12" fmla="*/ 50 w 485"/>
                <a:gd name="T13" fmla="*/ 259 h 368"/>
                <a:gd name="T14" fmla="*/ 92 w 485"/>
                <a:gd name="T15" fmla="*/ 112 h 368"/>
                <a:gd name="T16" fmla="*/ 162 w 485"/>
                <a:gd name="T17" fmla="*/ 21 h 368"/>
                <a:gd name="T18" fmla="*/ 237 w 485"/>
                <a:gd name="T19" fmla="*/ 1 h 368"/>
                <a:gd name="T20" fmla="*/ 237 w 485"/>
                <a:gd name="T21" fmla="*/ 1 h 368"/>
                <a:gd name="T22" fmla="*/ 368 w 485"/>
                <a:gd name="T23" fmla="*/ 76 h 368"/>
                <a:gd name="T24" fmla="*/ 312 w 485"/>
                <a:gd name="T25" fmla="*/ 282 h 368"/>
                <a:gd name="T26" fmla="*/ 237 w 485"/>
                <a:gd name="T27" fmla="*/ 302 h 368"/>
                <a:gd name="T28" fmla="*/ 107 w 485"/>
                <a:gd name="T29" fmla="*/ 227 h 368"/>
                <a:gd name="T30" fmla="*/ 92 w 485"/>
                <a:gd name="T31" fmla="*/ 112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85" h="368">
                  <a:moveTo>
                    <a:pt x="50" y="259"/>
                  </a:moveTo>
                  <a:cubicBezTo>
                    <a:pt x="90" y="329"/>
                    <a:pt x="163" y="367"/>
                    <a:pt x="237" y="367"/>
                  </a:cubicBezTo>
                  <a:cubicBezTo>
                    <a:pt x="274" y="367"/>
                    <a:pt x="311" y="358"/>
                    <a:pt x="345" y="338"/>
                  </a:cubicBezTo>
                  <a:cubicBezTo>
                    <a:pt x="448" y="279"/>
                    <a:pt x="484" y="147"/>
                    <a:pt x="424" y="43"/>
                  </a:cubicBezTo>
                  <a:cubicBezTo>
                    <a:pt x="415" y="27"/>
                    <a:pt x="404" y="13"/>
                    <a:pt x="391" y="0"/>
                  </a:cubicBezTo>
                  <a:lnTo>
                    <a:pt x="83" y="0"/>
                  </a:lnTo>
                  <a:cubicBezTo>
                    <a:pt x="17" y="67"/>
                    <a:pt x="0" y="173"/>
                    <a:pt x="50" y="259"/>
                  </a:cubicBezTo>
                  <a:close/>
                  <a:moveTo>
                    <a:pt x="92" y="112"/>
                  </a:moveTo>
                  <a:cubicBezTo>
                    <a:pt x="102" y="74"/>
                    <a:pt x="127" y="41"/>
                    <a:pt x="162" y="21"/>
                  </a:cubicBezTo>
                  <a:cubicBezTo>
                    <a:pt x="185" y="8"/>
                    <a:pt x="211" y="1"/>
                    <a:pt x="237" y="1"/>
                  </a:cubicBezTo>
                  <a:lnTo>
                    <a:pt x="237" y="1"/>
                  </a:lnTo>
                  <a:cubicBezTo>
                    <a:pt x="291" y="1"/>
                    <a:pt x="341" y="30"/>
                    <a:pt x="368" y="76"/>
                  </a:cubicBezTo>
                  <a:cubicBezTo>
                    <a:pt x="409" y="148"/>
                    <a:pt x="384" y="240"/>
                    <a:pt x="312" y="282"/>
                  </a:cubicBezTo>
                  <a:cubicBezTo>
                    <a:pt x="290" y="295"/>
                    <a:pt x="264" y="302"/>
                    <a:pt x="237" y="302"/>
                  </a:cubicBezTo>
                  <a:cubicBezTo>
                    <a:pt x="184" y="302"/>
                    <a:pt x="134" y="273"/>
                    <a:pt x="107" y="227"/>
                  </a:cubicBezTo>
                  <a:cubicBezTo>
                    <a:pt x="87" y="192"/>
                    <a:pt x="81" y="151"/>
                    <a:pt x="92" y="112"/>
                  </a:cubicBezTo>
                  <a:close/>
                </a:path>
              </a:pathLst>
            </a:custGeom>
            <a:solidFill>
              <a:schemeClr val="accent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6" name="Freeform 107">
              <a:extLst>
                <a:ext uri="{FF2B5EF4-FFF2-40B4-BE49-F238E27FC236}">
                  <a16:creationId xmlns:a16="http://schemas.microsoft.com/office/drawing/2014/main" id="{96DAB01D-C4E4-6341-BB02-C4AEA1870DAD}"/>
                </a:ext>
              </a:extLst>
            </p:cNvPr>
            <p:cNvSpPr>
              <a:spLocks noChangeArrowheads="1"/>
            </p:cNvSpPr>
            <p:nvPr/>
          </p:nvSpPr>
          <p:spPr bwMode="auto">
            <a:xfrm>
              <a:off x="6022975" y="5699125"/>
              <a:ext cx="323850" cy="138113"/>
            </a:xfrm>
            <a:custGeom>
              <a:avLst/>
              <a:gdLst>
                <a:gd name="T0" fmla="*/ 852 w 898"/>
                <a:gd name="T1" fmla="*/ 139 h 382"/>
                <a:gd name="T2" fmla="*/ 557 w 898"/>
                <a:gd name="T3" fmla="*/ 60 h 382"/>
                <a:gd name="T4" fmla="*/ 0 w 898"/>
                <a:gd name="T5" fmla="*/ 381 h 382"/>
                <a:gd name="T6" fmla="*/ 834 w 898"/>
                <a:gd name="T7" fmla="*/ 381 h 382"/>
                <a:gd name="T8" fmla="*/ 852 w 898"/>
                <a:gd name="T9" fmla="*/ 139 h 382"/>
              </a:gdLst>
              <a:ahLst/>
              <a:cxnLst>
                <a:cxn ang="0">
                  <a:pos x="T0" y="T1"/>
                </a:cxn>
                <a:cxn ang="0">
                  <a:pos x="T2" y="T3"/>
                </a:cxn>
                <a:cxn ang="0">
                  <a:pos x="T4" y="T5"/>
                </a:cxn>
                <a:cxn ang="0">
                  <a:pos x="T6" y="T7"/>
                </a:cxn>
                <a:cxn ang="0">
                  <a:pos x="T8" y="T9"/>
                </a:cxn>
              </a:cxnLst>
              <a:rect l="0" t="0" r="r" b="b"/>
              <a:pathLst>
                <a:path w="898" h="382">
                  <a:moveTo>
                    <a:pt x="852" y="139"/>
                  </a:moveTo>
                  <a:cubicBezTo>
                    <a:pt x="792" y="35"/>
                    <a:pt x="660" y="0"/>
                    <a:pt x="557" y="60"/>
                  </a:cubicBezTo>
                  <a:lnTo>
                    <a:pt x="0" y="381"/>
                  </a:lnTo>
                  <a:lnTo>
                    <a:pt x="834" y="381"/>
                  </a:lnTo>
                  <a:cubicBezTo>
                    <a:pt x="887" y="314"/>
                    <a:pt x="897" y="218"/>
                    <a:pt x="852" y="139"/>
                  </a:cubicBezTo>
                </a:path>
              </a:pathLst>
            </a:custGeom>
            <a:solidFill>
              <a:schemeClr val="accent5">
                <a:alpha val="4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7" name="Freeform 108">
              <a:extLst>
                <a:ext uri="{FF2B5EF4-FFF2-40B4-BE49-F238E27FC236}">
                  <a16:creationId xmlns:a16="http://schemas.microsoft.com/office/drawing/2014/main" id="{2FADF8AF-987E-9449-9532-3604C99C8CF0}"/>
                </a:ext>
              </a:extLst>
            </p:cNvPr>
            <p:cNvSpPr>
              <a:spLocks noChangeArrowheads="1"/>
            </p:cNvSpPr>
            <p:nvPr/>
          </p:nvSpPr>
          <p:spPr bwMode="auto">
            <a:xfrm>
              <a:off x="6457950" y="5545138"/>
              <a:ext cx="93663" cy="157162"/>
            </a:xfrm>
            <a:custGeom>
              <a:avLst/>
              <a:gdLst>
                <a:gd name="T0" fmla="*/ 139 w 258"/>
                <a:gd name="T1" fmla="*/ 31 h 438"/>
                <a:gd name="T2" fmla="*/ 60 w 258"/>
                <a:gd name="T3" fmla="*/ 326 h 438"/>
                <a:gd name="T4" fmla="*/ 257 w 258"/>
                <a:gd name="T5" fmla="*/ 433 h 438"/>
                <a:gd name="T6" fmla="*/ 257 w 258"/>
                <a:gd name="T7" fmla="*/ 2 h 438"/>
                <a:gd name="T8" fmla="*/ 139 w 258"/>
                <a:gd name="T9" fmla="*/ 31 h 438"/>
              </a:gdLst>
              <a:ahLst/>
              <a:cxnLst>
                <a:cxn ang="0">
                  <a:pos x="T0" y="T1"/>
                </a:cxn>
                <a:cxn ang="0">
                  <a:pos x="T2" y="T3"/>
                </a:cxn>
                <a:cxn ang="0">
                  <a:pos x="T4" y="T5"/>
                </a:cxn>
                <a:cxn ang="0">
                  <a:pos x="T6" y="T7"/>
                </a:cxn>
                <a:cxn ang="0">
                  <a:pos x="T8" y="T9"/>
                </a:cxn>
              </a:cxnLst>
              <a:rect l="0" t="0" r="r" b="b"/>
              <a:pathLst>
                <a:path w="258" h="438">
                  <a:moveTo>
                    <a:pt x="139" y="31"/>
                  </a:moveTo>
                  <a:cubicBezTo>
                    <a:pt x="36" y="90"/>
                    <a:pt x="0" y="222"/>
                    <a:pt x="60" y="326"/>
                  </a:cubicBezTo>
                  <a:cubicBezTo>
                    <a:pt x="102" y="398"/>
                    <a:pt x="179" y="437"/>
                    <a:pt x="257" y="433"/>
                  </a:cubicBezTo>
                  <a:lnTo>
                    <a:pt x="257" y="2"/>
                  </a:lnTo>
                  <a:cubicBezTo>
                    <a:pt x="217" y="0"/>
                    <a:pt x="176" y="9"/>
                    <a:pt x="139" y="31"/>
                  </a:cubicBezTo>
                </a:path>
              </a:pathLst>
            </a:custGeom>
            <a:solidFill>
              <a:schemeClr val="accent5">
                <a:alpha val="4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a:p>
          </p:txBody>
        </p:sp>
      </p:grpSp>
    </p:spTree>
    <p:extLst>
      <p:ext uri="{BB962C8B-B14F-4D97-AF65-F5344CB8AC3E}">
        <p14:creationId xmlns:p14="http://schemas.microsoft.com/office/powerpoint/2010/main" val="4158498022"/>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8F86E82E-D212-4DFA-81D5-25C8D8B01B76}"/>
              </a:ext>
            </a:extLst>
          </p:cNvPr>
          <p:cNvSpPr>
            <a:spLocks noGrp="1"/>
          </p:cNvSpPr>
          <p:nvPr>
            <p:ph type="dt" sz="half" idx="10"/>
          </p:nvPr>
        </p:nvSpPr>
        <p:spPr>
          <a:xfrm>
            <a:off x="493192" y="7532007"/>
            <a:ext cx="2844800" cy="288000"/>
          </a:xfrm>
          <a:prstGeom prst="rect">
            <a:avLst/>
          </a:prstGeom>
        </p:spPr>
        <p:txBody>
          <a:bodyPr vert="horz" lIns="0" tIns="0" rIns="0" bIns="0" rtlCol="0" anchor="b" anchorCtr="0">
            <a:noAutofit/>
          </a:bodyPr>
          <a:lstStyle>
            <a:defPPr>
              <a:defRPr lang="en-US"/>
            </a:defPPr>
            <a:lvl1pPr marL="0" algn="l"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0B7A701-B70B-48A4-9EFB-4F00A3212127}" type="datetime3">
              <a:rPr lang="en-US" smtClean="0"/>
              <a:pPr/>
              <a:t>1 July 2024</a:t>
            </a:fld>
            <a:endParaRPr lang="en-GB" noProof="0"/>
          </a:p>
        </p:txBody>
      </p:sp>
      <p:sp>
        <p:nvSpPr>
          <p:cNvPr id="4" name="Footer Placeholder 3">
            <a:extLst>
              <a:ext uri="{FF2B5EF4-FFF2-40B4-BE49-F238E27FC236}">
                <a16:creationId xmlns:a16="http://schemas.microsoft.com/office/drawing/2014/main" id="{13F3B690-CE24-4E66-9D2D-84973CAEC15A}"/>
              </a:ext>
            </a:extLst>
          </p:cNvPr>
          <p:cNvSpPr>
            <a:spLocks noGrp="1"/>
          </p:cNvSpPr>
          <p:nvPr>
            <p:ph type="ftr" sz="quarter" idx="11"/>
          </p:nvPr>
        </p:nvSpPr>
        <p:spPr>
          <a:xfrm>
            <a:off x="471600" y="6400800"/>
            <a:ext cx="5400000" cy="226800"/>
          </a:xfrm>
          <a:prstGeom prst="rect">
            <a:avLst/>
          </a:prstGeom>
        </p:spPr>
        <p:txBody>
          <a:bodyPr vert="horz" lIns="0" tIns="0" rIns="0" bIns="0" rtlCol="0" anchor="t" anchorCtr="0">
            <a:noAutofit/>
          </a:bodyPr>
          <a:lstStyle>
            <a:defPPr>
              <a:defRPr lang="en-US"/>
            </a:defPPr>
            <a:lvl1pPr marL="0" algn="l" defTabSz="914400" rtl="0" eaLnBrk="1" latinLnBrk="0" hangingPunct="1">
              <a:defRPr lang="en-GB" sz="800" kern="1200" noProof="0">
                <a:solidFill>
                  <a:schemeClr val="accent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ts val="970"/>
              </a:lnSpc>
            </a:pPr>
            <a:r>
              <a:rPr lang="en-GB"/>
              <a:t>© Colt Technology Services  |  Presentation title here</a:t>
            </a:r>
            <a:endParaRPr lang="en-GB" dirty="0">
              <a:solidFill>
                <a:schemeClr val="accent2"/>
              </a:solidFill>
            </a:endParaRPr>
          </a:p>
        </p:txBody>
      </p:sp>
      <p:sp>
        <p:nvSpPr>
          <p:cNvPr id="5" name="Slide Number Placeholder 4">
            <a:extLst>
              <a:ext uri="{FF2B5EF4-FFF2-40B4-BE49-F238E27FC236}">
                <a16:creationId xmlns:a16="http://schemas.microsoft.com/office/drawing/2014/main" id="{3B228E37-D3E2-49C4-BE7D-4067EBD120F3}"/>
              </a:ext>
            </a:extLst>
          </p:cNvPr>
          <p:cNvSpPr>
            <a:spLocks noGrp="1"/>
          </p:cNvSpPr>
          <p:nvPr>
            <p:ph type="sldNum" sz="quarter" idx="12"/>
          </p:nvPr>
        </p:nvSpPr>
        <p:spPr>
          <a:xfrm>
            <a:off x="11278800" y="6400800"/>
            <a:ext cx="442800" cy="226800"/>
          </a:xfrm>
          <a:prstGeom prst="rect">
            <a:avLst/>
          </a:prstGeom>
        </p:spPr>
        <p:txBody>
          <a:bodyPr/>
          <a:lstStyle/>
          <a:p>
            <a:pPr algn="r">
              <a:lnSpc>
                <a:spcPts val="970"/>
              </a:lnSpc>
            </a:pPr>
            <a:fld id="{0B868178-02AE-42FC-958D-6B8F13B60175}" type="slidenum">
              <a:rPr lang="en-GB" smtClean="0"/>
              <a:pPr algn="r">
                <a:lnSpc>
                  <a:spcPts val="970"/>
                </a:lnSpc>
              </a:pPr>
              <a:t>‹#›</a:t>
            </a:fld>
            <a:endParaRPr lang="en-GB" sz="800" noProof="0">
              <a:solidFill>
                <a:schemeClr val="bg1"/>
              </a:solidFill>
            </a:endParaRPr>
          </a:p>
        </p:txBody>
      </p:sp>
      <p:pic>
        <p:nvPicPr>
          <p:cNvPr id="7" name="Graphic 6">
            <a:extLst>
              <a:ext uri="{FF2B5EF4-FFF2-40B4-BE49-F238E27FC236}">
                <a16:creationId xmlns:a16="http://schemas.microsoft.com/office/drawing/2014/main" id="{2404A514-DC81-4DC1-99F2-15989271CA5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68000" y="3240000"/>
            <a:ext cx="11239500" cy="457200"/>
          </a:xfrm>
          <a:prstGeom prst="rect">
            <a:avLst/>
          </a:prstGeom>
        </p:spPr>
      </p:pic>
      <p:sp>
        <p:nvSpPr>
          <p:cNvPr id="11" name="Media Placeholder 10">
            <a:extLst>
              <a:ext uri="{FF2B5EF4-FFF2-40B4-BE49-F238E27FC236}">
                <a16:creationId xmlns:a16="http://schemas.microsoft.com/office/drawing/2014/main" id="{0558167F-F2A6-43D9-8382-C17BCA5734D4}"/>
              </a:ext>
            </a:extLst>
          </p:cNvPr>
          <p:cNvSpPr>
            <a:spLocks noGrp="1"/>
          </p:cNvSpPr>
          <p:nvPr>
            <p:ph type="media" sz="quarter" idx="13" hasCustomPrompt="1"/>
          </p:nvPr>
        </p:nvSpPr>
        <p:spPr>
          <a:xfrm>
            <a:off x="2160000" y="1404000"/>
            <a:ext cx="7200" cy="1836000"/>
          </a:xfrm>
          <a:solidFill>
            <a:schemeClr val="tx2"/>
          </a:solidFill>
        </p:spPr>
        <p:txBody>
          <a:bodyPr/>
          <a:lstStyle>
            <a:lvl1pPr>
              <a:defRPr sz="100">
                <a:solidFill>
                  <a:schemeClr val="tx2"/>
                </a:solidFill>
              </a:defRPr>
            </a:lvl1pPr>
          </a:lstStyle>
          <a:p>
            <a:r>
              <a:rPr lang="en-GB" dirty="0"/>
              <a:t> </a:t>
            </a:r>
          </a:p>
        </p:txBody>
      </p:sp>
      <p:sp>
        <p:nvSpPr>
          <p:cNvPr id="12" name="Media Placeholder 10">
            <a:extLst>
              <a:ext uri="{FF2B5EF4-FFF2-40B4-BE49-F238E27FC236}">
                <a16:creationId xmlns:a16="http://schemas.microsoft.com/office/drawing/2014/main" id="{8DFD0D35-F6E6-451D-977E-02EA680267DC}"/>
              </a:ext>
            </a:extLst>
          </p:cNvPr>
          <p:cNvSpPr>
            <a:spLocks noGrp="1"/>
          </p:cNvSpPr>
          <p:nvPr>
            <p:ph type="media" sz="quarter" idx="14" hasCustomPrompt="1"/>
          </p:nvPr>
        </p:nvSpPr>
        <p:spPr>
          <a:xfrm>
            <a:off x="4500000" y="1404000"/>
            <a:ext cx="7200" cy="1836000"/>
          </a:xfrm>
          <a:solidFill>
            <a:schemeClr val="tx2"/>
          </a:solidFill>
        </p:spPr>
        <p:txBody>
          <a:bodyPr/>
          <a:lstStyle>
            <a:lvl1pPr>
              <a:defRPr sz="100">
                <a:solidFill>
                  <a:schemeClr val="tx2"/>
                </a:solidFill>
              </a:defRPr>
            </a:lvl1pPr>
          </a:lstStyle>
          <a:p>
            <a:r>
              <a:rPr lang="en-GB" dirty="0"/>
              <a:t> </a:t>
            </a:r>
          </a:p>
        </p:txBody>
      </p:sp>
      <p:sp>
        <p:nvSpPr>
          <p:cNvPr id="13" name="Media Placeholder 10">
            <a:extLst>
              <a:ext uri="{FF2B5EF4-FFF2-40B4-BE49-F238E27FC236}">
                <a16:creationId xmlns:a16="http://schemas.microsoft.com/office/drawing/2014/main" id="{38DBCF0C-1CF1-49E4-B7C6-F6A7959AFA1C}"/>
              </a:ext>
            </a:extLst>
          </p:cNvPr>
          <p:cNvSpPr>
            <a:spLocks noGrp="1"/>
          </p:cNvSpPr>
          <p:nvPr>
            <p:ph type="media" sz="quarter" idx="15" hasCustomPrompt="1"/>
          </p:nvPr>
        </p:nvSpPr>
        <p:spPr>
          <a:xfrm>
            <a:off x="6840000" y="1404000"/>
            <a:ext cx="7200" cy="1836000"/>
          </a:xfrm>
          <a:solidFill>
            <a:schemeClr val="tx2"/>
          </a:solidFill>
        </p:spPr>
        <p:txBody>
          <a:bodyPr/>
          <a:lstStyle>
            <a:lvl1pPr>
              <a:defRPr sz="100">
                <a:solidFill>
                  <a:schemeClr val="tx2"/>
                </a:solidFill>
              </a:defRPr>
            </a:lvl1pPr>
          </a:lstStyle>
          <a:p>
            <a:r>
              <a:rPr lang="en-GB" dirty="0"/>
              <a:t> </a:t>
            </a:r>
          </a:p>
        </p:txBody>
      </p:sp>
      <p:sp>
        <p:nvSpPr>
          <p:cNvPr id="14" name="Media Placeholder 10">
            <a:extLst>
              <a:ext uri="{FF2B5EF4-FFF2-40B4-BE49-F238E27FC236}">
                <a16:creationId xmlns:a16="http://schemas.microsoft.com/office/drawing/2014/main" id="{F3939553-606E-4A32-9D09-7D96F632A714}"/>
              </a:ext>
            </a:extLst>
          </p:cNvPr>
          <p:cNvSpPr>
            <a:spLocks noGrp="1"/>
          </p:cNvSpPr>
          <p:nvPr>
            <p:ph type="media" sz="quarter" idx="16" hasCustomPrompt="1"/>
          </p:nvPr>
        </p:nvSpPr>
        <p:spPr>
          <a:xfrm>
            <a:off x="9180000" y="1404000"/>
            <a:ext cx="7200" cy="1836000"/>
          </a:xfrm>
          <a:solidFill>
            <a:schemeClr val="tx2"/>
          </a:solidFill>
        </p:spPr>
        <p:txBody>
          <a:bodyPr/>
          <a:lstStyle>
            <a:lvl1pPr>
              <a:defRPr sz="100">
                <a:solidFill>
                  <a:schemeClr val="tx2"/>
                </a:solidFill>
              </a:defRPr>
            </a:lvl1pPr>
          </a:lstStyle>
          <a:p>
            <a:r>
              <a:rPr lang="en-GB" dirty="0"/>
              <a:t> </a:t>
            </a:r>
          </a:p>
        </p:txBody>
      </p:sp>
      <p:sp>
        <p:nvSpPr>
          <p:cNvPr id="15" name="Media Placeholder 10">
            <a:extLst>
              <a:ext uri="{FF2B5EF4-FFF2-40B4-BE49-F238E27FC236}">
                <a16:creationId xmlns:a16="http://schemas.microsoft.com/office/drawing/2014/main" id="{7B1FBA84-04DD-4B5B-851E-AABAACABFC7F}"/>
              </a:ext>
            </a:extLst>
          </p:cNvPr>
          <p:cNvSpPr>
            <a:spLocks noGrp="1"/>
          </p:cNvSpPr>
          <p:nvPr>
            <p:ph type="media" sz="quarter" idx="17" hasCustomPrompt="1"/>
          </p:nvPr>
        </p:nvSpPr>
        <p:spPr>
          <a:xfrm>
            <a:off x="1260000" y="3697200"/>
            <a:ext cx="7200" cy="1836000"/>
          </a:xfrm>
          <a:solidFill>
            <a:schemeClr val="tx2"/>
          </a:solidFill>
        </p:spPr>
        <p:txBody>
          <a:bodyPr/>
          <a:lstStyle>
            <a:lvl1pPr>
              <a:defRPr sz="100">
                <a:solidFill>
                  <a:schemeClr val="tx2"/>
                </a:solidFill>
              </a:defRPr>
            </a:lvl1pPr>
          </a:lstStyle>
          <a:p>
            <a:r>
              <a:rPr lang="en-GB" dirty="0"/>
              <a:t> </a:t>
            </a:r>
          </a:p>
        </p:txBody>
      </p:sp>
      <p:sp>
        <p:nvSpPr>
          <p:cNvPr id="16" name="Media Placeholder 10">
            <a:extLst>
              <a:ext uri="{FF2B5EF4-FFF2-40B4-BE49-F238E27FC236}">
                <a16:creationId xmlns:a16="http://schemas.microsoft.com/office/drawing/2014/main" id="{EF861C7E-F1A1-46F9-B1A4-20CD86575858}"/>
              </a:ext>
            </a:extLst>
          </p:cNvPr>
          <p:cNvSpPr>
            <a:spLocks noGrp="1"/>
          </p:cNvSpPr>
          <p:nvPr>
            <p:ph type="media" sz="quarter" idx="18" hasCustomPrompt="1"/>
          </p:nvPr>
        </p:nvSpPr>
        <p:spPr>
          <a:xfrm>
            <a:off x="3600000" y="3697200"/>
            <a:ext cx="7200" cy="1836000"/>
          </a:xfrm>
          <a:solidFill>
            <a:schemeClr val="tx2"/>
          </a:solidFill>
        </p:spPr>
        <p:txBody>
          <a:bodyPr/>
          <a:lstStyle>
            <a:lvl1pPr>
              <a:defRPr sz="100">
                <a:solidFill>
                  <a:schemeClr val="tx2"/>
                </a:solidFill>
              </a:defRPr>
            </a:lvl1pPr>
          </a:lstStyle>
          <a:p>
            <a:r>
              <a:rPr lang="en-GB" dirty="0"/>
              <a:t> </a:t>
            </a:r>
          </a:p>
        </p:txBody>
      </p:sp>
      <p:sp>
        <p:nvSpPr>
          <p:cNvPr id="17" name="Media Placeholder 10">
            <a:extLst>
              <a:ext uri="{FF2B5EF4-FFF2-40B4-BE49-F238E27FC236}">
                <a16:creationId xmlns:a16="http://schemas.microsoft.com/office/drawing/2014/main" id="{3FA27553-D321-4510-B976-1810C206AA6A}"/>
              </a:ext>
            </a:extLst>
          </p:cNvPr>
          <p:cNvSpPr>
            <a:spLocks noGrp="1"/>
          </p:cNvSpPr>
          <p:nvPr>
            <p:ph type="media" sz="quarter" idx="19" hasCustomPrompt="1"/>
          </p:nvPr>
        </p:nvSpPr>
        <p:spPr>
          <a:xfrm>
            <a:off x="5940000" y="3697200"/>
            <a:ext cx="7200" cy="1836000"/>
          </a:xfrm>
          <a:solidFill>
            <a:schemeClr val="tx2"/>
          </a:solidFill>
        </p:spPr>
        <p:txBody>
          <a:bodyPr/>
          <a:lstStyle>
            <a:lvl1pPr>
              <a:defRPr sz="100">
                <a:solidFill>
                  <a:schemeClr val="tx2"/>
                </a:solidFill>
              </a:defRPr>
            </a:lvl1pPr>
          </a:lstStyle>
          <a:p>
            <a:r>
              <a:rPr lang="en-GB" dirty="0"/>
              <a:t> </a:t>
            </a:r>
          </a:p>
        </p:txBody>
      </p:sp>
      <p:sp>
        <p:nvSpPr>
          <p:cNvPr id="18" name="Media Placeholder 10">
            <a:extLst>
              <a:ext uri="{FF2B5EF4-FFF2-40B4-BE49-F238E27FC236}">
                <a16:creationId xmlns:a16="http://schemas.microsoft.com/office/drawing/2014/main" id="{1E551277-AEE7-4026-9457-AF6AB7A8B843}"/>
              </a:ext>
            </a:extLst>
          </p:cNvPr>
          <p:cNvSpPr>
            <a:spLocks noGrp="1"/>
          </p:cNvSpPr>
          <p:nvPr>
            <p:ph type="media" sz="quarter" idx="20" hasCustomPrompt="1"/>
          </p:nvPr>
        </p:nvSpPr>
        <p:spPr>
          <a:xfrm>
            <a:off x="8280000" y="3697200"/>
            <a:ext cx="7200" cy="1836000"/>
          </a:xfrm>
          <a:solidFill>
            <a:schemeClr val="tx2"/>
          </a:solidFill>
        </p:spPr>
        <p:txBody>
          <a:bodyPr/>
          <a:lstStyle>
            <a:lvl1pPr>
              <a:defRPr sz="100">
                <a:solidFill>
                  <a:schemeClr val="tx2"/>
                </a:solidFill>
              </a:defRPr>
            </a:lvl1pPr>
          </a:lstStyle>
          <a:p>
            <a:r>
              <a:rPr lang="en-GB" dirty="0"/>
              <a:t> </a:t>
            </a:r>
          </a:p>
        </p:txBody>
      </p:sp>
      <p:sp>
        <p:nvSpPr>
          <p:cNvPr id="22" name="Text Placeholder 21">
            <a:extLst>
              <a:ext uri="{FF2B5EF4-FFF2-40B4-BE49-F238E27FC236}">
                <a16:creationId xmlns:a16="http://schemas.microsoft.com/office/drawing/2014/main" id="{3D7E56A9-D978-40C4-917E-FE856DC0AF0E}"/>
              </a:ext>
            </a:extLst>
          </p:cNvPr>
          <p:cNvSpPr>
            <a:spLocks noGrp="1"/>
          </p:cNvSpPr>
          <p:nvPr>
            <p:ph type="body" sz="quarter" idx="22"/>
          </p:nvPr>
        </p:nvSpPr>
        <p:spPr>
          <a:xfrm>
            <a:off x="2376000" y="2160000"/>
            <a:ext cx="1800000" cy="720000"/>
          </a:xfrm>
        </p:spPr>
        <p:txBody>
          <a:bodyPr/>
          <a:lstStyle>
            <a:lvl1pPr>
              <a:lnSpc>
                <a:spcPts val="1230"/>
              </a:lnSpc>
              <a:defRPr sz="1060">
                <a:solidFill>
                  <a:schemeClr val="tx2"/>
                </a:solidFill>
              </a:defRPr>
            </a:lvl1pPr>
            <a:lvl2pPr marL="108000" indent="-108000">
              <a:lnSpc>
                <a:spcPts val="1230"/>
              </a:lnSpc>
              <a:buClr>
                <a:schemeClr val="accent6"/>
              </a:buClr>
              <a:buFont typeface="Arial" panose="020B0604020202020204" pitchFamily="34" charset="0"/>
              <a:buChar char="•"/>
              <a:defRPr sz="1060"/>
            </a:lvl2pPr>
          </a:lstStyle>
          <a:p>
            <a:pPr lvl="0"/>
            <a:r>
              <a:rPr lang="en-US"/>
              <a:t>Click to edit Master text styles</a:t>
            </a:r>
          </a:p>
          <a:p>
            <a:pPr lvl="1"/>
            <a:r>
              <a:rPr lang="en-US"/>
              <a:t>Second level</a:t>
            </a:r>
          </a:p>
        </p:txBody>
      </p:sp>
      <p:sp>
        <p:nvSpPr>
          <p:cNvPr id="23" name="Text Placeholder 21">
            <a:extLst>
              <a:ext uri="{FF2B5EF4-FFF2-40B4-BE49-F238E27FC236}">
                <a16:creationId xmlns:a16="http://schemas.microsoft.com/office/drawing/2014/main" id="{14C4FBED-DAAD-4027-BD3C-4A0157316A59}"/>
              </a:ext>
            </a:extLst>
          </p:cNvPr>
          <p:cNvSpPr>
            <a:spLocks noGrp="1"/>
          </p:cNvSpPr>
          <p:nvPr>
            <p:ph type="body" sz="quarter" idx="23"/>
          </p:nvPr>
        </p:nvSpPr>
        <p:spPr>
          <a:xfrm>
            <a:off x="4716000" y="2160000"/>
            <a:ext cx="1800000" cy="720000"/>
          </a:xfrm>
        </p:spPr>
        <p:txBody>
          <a:bodyPr/>
          <a:lstStyle>
            <a:lvl1pPr>
              <a:lnSpc>
                <a:spcPts val="1230"/>
              </a:lnSpc>
              <a:defRPr sz="1060">
                <a:solidFill>
                  <a:schemeClr val="tx2"/>
                </a:solidFill>
              </a:defRPr>
            </a:lvl1pPr>
            <a:lvl2pPr marL="108000" indent="-108000">
              <a:lnSpc>
                <a:spcPts val="1230"/>
              </a:lnSpc>
              <a:buClr>
                <a:schemeClr val="accent6"/>
              </a:buClr>
              <a:buFont typeface="Arial" panose="020B0604020202020204" pitchFamily="34" charset="0"/>
              <a:buChar char="•"/>
              <a:defRPr sz="1060"/>
            </a:lvl2pPr>
          </a:lstStyle>
          <a:p>
            <a:pPr lvl="0"/>
            <a:r>
              <a:rPr lang="en-US"/>
              <a:t>Click to edit Master text styles</a:t>
            </a:r>
          </a:p>
          <a:p>
            <a:pPr lvl="1"/>
            <a:r>
              <a:rPr lang="en-US"/>
              <a:t>Second level</a:t>
            </a:r>
          </a:p>
        </p:txBody>
      </p:sp>
      <p:sp>
        <p:nvSpPr>
          <p:cNvPr id="24" name="Text Placeholder 21">
            <a:extLst>
              <a:ext uri="{FF2B5EF4-FFF2-40B4-BE49-F238E27FC236}">
                <a16:creationId xmlns:a16="http://schemas.microsoft.com/office/drawing/2014/main" id="{9348C78B-A872-41D3-A328-54904EEB6E0C}"/>
              </a:ext>
            </a:extLst>
          </p:cNvPr>
          <p:cNvSpPr>
            <a:spLocks noGrp="1"/>
          </p:cNvSpPr>
          <p:nvPr>
            <p:ph type="body" sz="quarter" idx="24"/>
          </p:nvPr>
        </p:nvSpPr>
        <p:spPr>
          <a:xfrm>
            <a:off x="7056000" y="2160000"/>
            <a:ext cx="1800000" cy="720000"/>
          </a:xfrm>
        </p:spPr>
        <p:txBody>
          <a:bodyPr/>
          <a:lstStyle>
            <a:lvl1pPr>
              <a:lnSpc>
                <a:spcPts val="1230"/>
              </a:lnSpc>
              <a:defRPr sz="1060">
                <a:solidFill>
                  <a:schemeClr val="tx2"/>
                </a:solidFill>
              </a:defRPr>
            </a:lvl1pPr>
            <a:lvl2pPr marL="108000" indent="-108000">
              <a:lnSpc>
                <a:spcPts val="1230"/>
              </a:lnSpc>
              <a:buClr>
                <a:schemeClr val="accent6"/>
              </a:buClr>
              <a:buFont typeface="Arial" panose="020B0604020202020204" pitchFamily="34" charset="0"/>
              <a:buChar char="•"/>
              <a:defRPr sz="1060"/>
            </a:lvl2pPr>
          </a:lstStyle>
          <a:p>
            <a:pPr lvl="0"/>
            <a:r>
              <a:rPr lang="en-US"/>
              <a:t>Click to edit Master text styles</a:t>
            </a:r>
          </a:p>
          <a:p>
            <a:pPr lvl="1"/>
            <a:r>
              <a:rPr lang="en-US"/>
              <a:t>Second level</a:t>
            </a:r>
          </a:p>
        </p:txBody>
      </p:sp>
      <p:sp>
        <p:nvSpPr>
          <p:cNvPr id="25" name="Text Placeholder 21">
            <a:extLst>
              <a:ext uri="{FF2B5EF4-FFF2-40B4-BE49-F238E27FC236}">
                <a16:creationId xmlns:a16="http://schemas.microsoft.com/office/drawing/2014/main" id="{DDFA9D6F-33E6-47AA-BE2B-1A82C05DA100}"/>
              </a:ext>
            </a:extLst>
          </p:cNvPr>
          <p:cNvSpPr>
            <a:spLocks noGrp="1"/>
          </p:cNvSpPr>
          <p:nvPr>
            <p:ph type="body" sz="quarter" idx="25"/>
          </p:nvPr>
        </p:nvSpPr>
        <p:spPr>
          <a:xfrm>
            <a:off x="9396000" y="2160000"/>
            <a:ext cx="1800000" cy="720000"/>
          </a:xfrm>
        </p:spPr>
        <p:txBody>
          <a:bodyPr/>
          <a:lstStyle>
            <a:lvl1pPr>
              <a:lnSpc>
                <a:spcPts val="1230"/>
              </a:lnSpc>
              <a:defRPr sz="1060">
                <a:solidFill>
                  <a:schemeClr val="tx2"/>
                </a:solidFill>
              </a:defRPr>
            </a:lvl1pPr>
            <a:lvl2pPr marL="108000" indent="-108000">
              <a:lnSpc>
                <a:spcPts val="1230"/>
              </a:lnSpc>
              <a:buClr>
                <a:schemeClr val="accent6"/>
              </a:buClr>
              <a:buFont typeface="Arial" panose="020B0604020202020204" pitchFamily="34" charset="0"/>
              <a:buChar char="•"/>
              <a:defRPr sz="1060"/>
            </a:lvl2pPr>
          </a:lstStyle>
          <a:p>
            <a:pPr lvl="0"/>
            <a:r>
              <a:rPr lang="en-US"/>
              <a:t>Click to edit Master text styles</a:t>
            </a:r>
          </a:p>
          <a:p>
            <a:pPr lvl="1"/>
            <a:r>
              <a:rPr lang="en-US"/>
              <a:t>Second level</a:t>
            </a:r>
          </a:p>
        </p:txBody>
      </p:sp>
      <p:sp>
        <p:nvSpPr>
          <p:cNvPr id="26" name="Text Placeholder 21">
            <a:extLst>
              <a:ext uri="{FF2B5EF4-FFF2-40B4-BE49-F238E27FC236}">
                <a16:creationId xmlns:a16="http://schemas.microsoft.com/office/drawing/2014/main" id="{81C152D9-93F9-48CB-9EF7-12583D1E1467}"/>
              </a:ext>
            </a:extLst>
          </p:cNvPr>
          <p:cNvSpPr>
            <a:spLocks noGrp="1"/>
          </p:cNvSpPr>
          <p:nvPr>
            <p:ph type="body" sz="quarter" idx="26"/>
          </p:nvPr>
        </p:nvSpPr>
        <p:spPr>
          <a:xfrm>
            <a:off x="1476000" y="4824000"/>
            <a:ext cx="1800000" cy="720000"/>
          </a:xfrm>
        </p:spPr>
        <p:txBody>
          <a:bodyPr/>
          <a:lstStyle>
            <a:lvl1pPr>
              <a:lnSpc>
                <a:spcPts val="1230"/>
              </a:lnSpc>
              <a:defRPr sz="1060">
                <a:solidFill>
                  <a:schemeClr val="tx2"/>
                </a:solidFill>
              </a:defRPr>
            </a:lvl1pPr>
            <a:lvl2pPr marL="108000" indent="-108000">
              <a:lnSpc>
                <a:spcPts val="1230"/>
              </a:lnSpc>
              <a:buClr>
                <a:schemeClr val="accent6"/>
              </a:buClr>
              <a:buFont typeface="Arial" panose="020B0604020202020204" pitchFamily="34" charset="0"/>
              <a:buChar char="•"/>
              <a:defRPr sz="1060"/>
            </a:lvl2pPr>
          </a:lstStyle>
          <a:p>
            <a:pPr lvl="0"/>
            <a:r>
              <a:rPr lang="en-US"/>
              <a:t>Click to edit Master text styles</a:t>
            </a:r>
          </a:p>
          <a:p>
            <a:pPr lvl="1"/>
            <a:r>
              <a:rPr lang="en-US"/>
              <a:t>Second level</a:t>
            </a:r>
          </a:p>
        </p:txBody>
      </p:sp>
      <p:sp>
        <p:nvSpPr>
          <p:cNvPr id="27" name="Text Placeholder 21">
            <a:extLst>
              <a:ext uri="{FF2B5EF4-FFF2-40B4-BE49-F238E27FC236}">
                <a16:creationId xmlns:a16="http://schemas.microsoft.com/office/drawing/2014/main" id="{3E85C4AE-7B9F-464F-91D4-15F242F165BA}"/>
              </a:ext>
            </a:extLst>
          </p:cNvPr>
          <p:cNvSpPr>
            <a:spLocks noGrp="1"/>
          </p:cNvSpPr>
          <p:nvPr>
            <p:ph type="body" sz="quarter" idx="27"/>
          </p:nvPr>
        </p:nvSpPr>
        <p:spPr>
          <a:xfrm>
            <a:off x="3816000" y="4824000"/>
            <a:ext cx="1800000" cy="720000"/>
          </a:xfrm>
        </p:spPr>
        <p:txBody>
          <a:bodyPr/>
          <a:lstStyle>
            <a:lvl1pPr>
              <a:lnSpc>
                <a:spcPts val="1230"/>
              </a:lnSpc>
              <a:defRPr sz="1060">
                <a:solidFill>
                  <a:schemeClr val="tx2"/>
                </a:solidFill>
              </a:defRPr>
            </a:lvl1pPr>
            <a:lvl2pPr marL="108000" indent="-108000">
              <a:lnSpc>
                <a:spcPts val="1230"/>
              </a:lnSpc>
              <a:buClr>
                <a:schemeClr val="accent6"/>
              </a:buClr>
              <a:buFont typeface="Arial" panose="020B0604020202020204" pitchFamily="34" charset="0"/>
              <a:buChar char="•"/>
              <a:defRPr sz="1060"/>
            </a:lvl2pPr>
          </a:lstStyle>
          <a:p>
            <a:pPr lvl="0"/>
            <a:r>
              <a:rPr lang="en-US"/>
              <a:t>Click to edit Master text styles</a:t>
            </a:r>
          </a:p>
          <a:p>
            <a:pPr lvl="1"/>
            <a:r>
              <a:rPr lang="en-US"/>
              <a:t>Second level</a:t>
            </a:r>
          </a:p>
        </p:txBody>
      </p:sp>
      <p:sp>
        <p:nvSpPr>
          <p:cNvPr id="28" name="Text Placeholder 21">
            <a:extLst>
              <a:ext uri="{FF2B5EF4-FFF2-40B4-BE49-F238E27FC236}">
                <a16:creationId xmlns:a16="http://schemas.microsoft.com/office/drawing/2014/main" id="{3CD2E452-65FD-400D-88BD-E0E5F31C47AD}"/>
              </a:ext>
            </a:extLst>
          </p:cNvPr>
          <p:cNvSpPr>
            <a:spLocks noGrp="1"/>
          </p:cNvSpPr>
          <p:nvPr>
            <p:ph type="body" sz="quarter" idx="28"/>
          </p:nvPr>
        </p:nvSpPr>
        <p:spPr>
          <a:xfrm>
            <a:off x="6156000" y="4824000"/>
            <a:ext cx="1800000" cy="720000"/>
          </a:xfrm>
        </p:spPr>
        <p:txBody>
          <a:bodyPr/>
          <a:lstStyle>
            <a:lvl1pPr>
              <a:lnSpc>
                <a:spcPts val="1230"/>
              </a:lnSpc>
              <a:defRPr sz="1060">
                <a:solidFill>
                  <a:schemeClr val="tx2"/>
                </a:solidFill>
              </a:defRPr>
            </a:lvl1pPr>
            <a:lvl2pPr marL="108000" indent="-108000">
              <a:lnSpc>
                <a:spcPts val="1230"/>
              </a:lnSpc>
              <a:buClr>
                <a:schemeClr val="accent6"/>
              </a:buClr>
              <a:buFont typeface="Arial" panose="020B0604020202020204" pitchFamily="34" charset="0"/>
              <a:buChar char="•"/>
              <a:defRPr sz="1060"/>
            </a:lvl2pPr>
          </a:lstStyle>
          <a:p>
            <a:pPr lvl="0"/>
            <a:r>
              <a:rPr lang="en-US"/>
              <a:t>Click to edit Master text styles</a:t>
            </a:r>
          </a:p>
          <a:p>
            <a:pPr lvl="1"/>
            <a:r>
              <a:rPr lang="en-US"/>
              <a:t>Second level</a:t>
            </a:r>
          </a:p>
        </p:txBody>
      </p:sp>
      <p:sp>
        <p:nvSpPr>
          <p:cNvPr id="29" name="Text Placeholder 21">
            <a:extLst>
              <a:ext uri="{FF2B5EF4-FFF2-40B4-BE49-F238E27FC236}">
                <a16:creationId xmlns:a16="http://schemas.microsoft.com/office/drawing/2014/main" id="{B0096270-5BD8-4EC6-925F-2EAFF51F667E}"/>
              </a:ext>
            </a:extLst>
          </p:cNvPr>
          <p:cNvSpPr>
            <a:spLocks noGrp="1"/>
          </p:cNvSpPr>
          <p:nvPr>
            <p:ph type="body" sz="quarter" idx="29"/>
          </p:nvPr>
        </p:nvSpPr>
        <p:spPr>
          <a:xfrm>
            <a:off x="8496000" y="4824000"/>
            <a:ext cx="1800000" cy="720000"/>
          </a:xfrm>
        </p:spPr>
        <p:txBody>
          <a:bodyPr/>
          <a:lstStyle>
            <a:lvl1pPr>
              <a:lnSpc>
                <a:spcPts val="1230"/>
              </a:lnSpc>
              <a:defRPr sz="1060">
                <a:solidFill>
                  <a:schemeClr val="tx2"/>
                </a:solidFill>
              </a:defRPr>
            </a:lvl1pPr>
            <a:lvl2pPr marL="108000" indent="-108000">
              <a:lnSpc>
                <a:spcPts val="1230"/>
              </a:lnSpc>
              <a:buClr>
                <a:schemeClr val="accent6"/>
              </a:buClr>
              <a:buFont typeface="Arial" panose="020B0604020202020204" pitchFamily="34" charset="0"/>
              <a:buChar char="•"/>
              <a:defRPr sz="1060"/>
            </a:lvl2pPr>
          </a:lstStyle>
          <a:p>
            <a:pPr lvl="0"/>
            <a:r>
              <a:rPr lang="en-US"/>
              <a:t>Click to edit Master text styles</a:t>
            </a:r>
          </a:p>
          <a:p>
            <a:pPr lvl="1"/>
            <a:r>
              <a:rPr lang="en-US"/>
              <a:t>Second level</a:t>
            </a:r>
          </a:p>
        </p:txBody>
      </p:sp>
      <p:sp>
        <p:nvSpPr>
          <p:cNvPr id="32" name="Title 1">
            <a:extLst>
              <a:ext uri="{FF2B5EF4-FFF2-40B4-BE49-F238E27FC236}">
                <a16:creationId xmlns:a16="http://schemas.microsoft.com/office/drawing/2014/main" id="{2853A37E-48F6-604A-B3E9-1CA64CCA7F9B}"/>
              </a:ext>
            </a:extLst>
          </p:cNvPr>
          <p:cNvSpPr>
            <a:spLocks noGrp="1"/>
          </p:cNvSpPr>
          <p:nvPr>
            <p:ph type="title"/>
          </p:nvPr>
        </p:nvSpPr>
        <p:spPr>
          <a:xfrm>
            <a:off x="442913" y="441326"/>
            <a:ext cx="11306175" cy="935038"/>
          </a:xfrm>
        </p:spPr>
        <p:txBody>
          <a:bodyPr/>
          <a:lstStyle/>
          <a:p>
            <a:r>
              <a:rPr lang="en-US"/>
              <a:t>Click to edit Master title style</a:t>
            </a:r>
            <a:endParaRPr lang="en-GB" dirty="0"/>
          </a:p>
        </p:txBody>
      </p:sp>
    </p:spTree>
    <p:extLst>
      <p:ext uri="{BB962C8B-B14F-4D97-AF65-F5344CB8AC3E}">
        <p14:creationId xmlns:p14="http://schemas.microsoft.com/office/powerpoint/2010/main" val="171680817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 in circl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0569E6-90FA-4CC2-8D14-9F7CF2E0946B}"/>
              </a:ext>
            </a:extLst>
          </p:cNvPr>
          <p:cNvSpPr>
            <a:spLocks noGrp="1"/>
          </p:cNvSpPr>
          <p:nvPr>
            <p:ph type="title"/>
          </p:nvPr>
        </p:nvSpPr>
        <p:spPr/>
        <p:txBody>
          <a:bodyPr/>
          <a:lstStyle/>
          <a:p>
            <a:r>
              <a:rPr lang="en-US"/>
              <a:t>Click to edit Master title style</a:t>
            </a:r>
            <a:endParaRPr lang="en-GB" dirty="0"/>
          </a:p>
        </p:txBody>
      </p:sp>
      <p:sp>
        <p:nvSpPr>
          <p:cNvPr id="3" name="Date Placeholder 2">
            <a:extLst>
              <a:ext uri="{FF2B5EF4-FFF2-40B4-BE49-F238E27FC236}">
                <a16:creationId xmlns:a16="http://schemas.microsoft.com/office/drawing/2014/main" id="{8DD50494-86A7-4937-97D4-37C2408F5241}"/>
              </a:ext>
            </a:extLst>
          </p:cNvPr>
          <p:cNvSpPr>
            <a:spLocks noGrp="1"/>
          </p:cNvSpPr>
          <p:nvPr>
            <p:ph type="dt" sz="half" idx="10"/>
          </p:nvPr>
        </p:nvSpPr>
        <p:spPr>
          <a:xfrm>
            <a:off x="493192" y="7532007"/>
            <a:ext cx="2844800" cy="288000"/>
          </a:xfrm>
          <a:prstGeom prst="rect">
            <a:avLst/>
          </a:prstGeom>
        </p:spPr>
        <p:txBody>
          <a:bodyPr vert="horz" lIns="0" tIns="0" rIns="0" bIns="0" rtlCol="0" anchor="b" anchorCtr="0">
            <a:noAutofit/>
          </a:bodyPr>
          <a:lstStyle>
            <a:defPPr>
              <a:defRPr lang="en-US"/>
            </a:defPPr>
            <a:lvl1pPr marL="0" algn="l"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0B7A701-B70B-48A4-9EFB-4F00A3212127}" type="datetime3">
              <a:rPr lang="en-US" smtClean="0"/>
              <a:pPr/>
              <a:t>1 July 2024</a:t>
            </a:fld>
            <a:endParaRPr lang="en-GB" noProof="0"/>
          </a:p>
        </p:txBody>
      </p:sp>
      <p:sp>
        <p:nvSpPr>
          <p:cNvPr id="4" name="Footer Placeholder 3">
            <a:extLst>
              <a:ext uri="{FF2B5EF4-FFF2-40B4-BE49-F238E27FC236}">
                <a16:creationId xmlns:a16="http://schemas.microsoft.com/office/drawing/2014/main" id="{823A535C-B684-4A5A-A436-989BCF2136EF}"/>
              </a:ext>
            </a:extLst>
          </p:cNvPr>
          <p:cNvSpPr>
            <a:spLocks noGrp="1"/>
          </p:cNvSpPr>
          <p:nvPr>
            <p:ph type="ftr" sz="quarter" idx="11"/>
          </p:nvPr>
        </p:nvSpPr>
        <p:spPr>
          <a:xfrm>
            <a:off x="471600" y="6400800"/>
            <a:ext cx="5400000" cy="226800"/>
          </a:xfrm>
          <a:prstGeom prst="rect">
            <a:avLst/>
          </a:prstGeom>
        </p:spPr>
        <p:txBody>
          <a:bodyPr vert="horz" lIns="0" tIns="0" rIns="0" bIns="0" rtlCol="0" anchor="t" anchorCtr="0">
            <a:noAutofit/>
          </a:bodyPr>
          <a:lstStyle>
            <a:defPPr>
              <a:defRPr lang="en-US"/>
            </a:defPPr>
            <a:lvl1pPr marL="0" algn="l" defTabSz="914400" rtl="0" eaLnBrk="1" latinLnBrk="0" hangingPunct="1">
              <a:defRPr lang="en-GB" sz="800" kern="1200" noProof="0">
                <a:solidFill>
                  <a:schemeClr val="accent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ts val="970"/>
              </a:lnSpc>
            </a:pPr>
            <a:r>
              <a:rPr lang="en-GB"/>
              <a:t>© Colt Technology Services  |  Presentation title here</a:t>
            </a:r>
            <a:endParaRPr lang="en-GB" dirty="0">
              <a:solidFill>
                <a:schemeClr val="accent2"/>
              </a:solidFill>
            </a:endParaRPr>
          </a:p>
        </p:txBody>
      </p:sp>
      <p:sp>
        <p:nvSpPr>
          <p:cNvPr id="5" name="Slide Number Placeholder 4">
            <a:extLst>
              <a:ext uri="{FF2B5EF4-FFF2-40B4-BE49-F238E27FC236}">
                <a16:creationId xmlns:a16="http://schemas.microsoft.com/office/drawing/2014/main" id="{AAF80D53-ACFA-4215-8119-91E082705FEE}"/>
              </a:ext>
            </a:extLst>
          </p:cNvPr>
          <p:cNvSpPr>
            <a:spLocks noGrp="1"/>
          </p:cNvSpPr>
          <p:nvPr>
            <p:ph type="sldNum" sz="quarter" idx="12"/>
          </p:nvPr>
        </p:nvSpPr>
        <p:spPr>
          <a:xfrm>
            <a:off x="11278800" y="6400800"/>
            <a:ext cx="442800" cy="226800"/>
          </a:xfrm>
          <a:prstGeom prst="rect">
            <a:avLst/>
          </a:prstGeom>
        </p:spPr>
        <p:txBody>
          <a:bodyPr/>
          <a:lstStyle/>
          <a:p>
            <a:pPr algn="r">
              <a:lnSpc>
                <a:spcPts val="970"/>
              </a:lnSpc>
            </a:pPr>
            <a:fld id="{0B868178-02AE-42FC-958D-6B8F13B60175}" type="slidenum">
              <a:rPr lang="en-GB" smtClean="0"/>
              <a:pPr algn="r">
                <a:lnSpc>
                  <a:spcPts val="970"/>
                </a:lnSpc>
              </a:pPr>
              <a:t>‹#›</a:t>
            </a:fld>
            <a:endParaRPr lang="en-GB" sz="800" noProof="0">
              <a:solidFill>
                <a:schemeClr val="bg1"/>
              </a:solidFill>
            </a:endParaRPr>
          </a:p>
        </p:txBody>
      </p:sp>
      <p:sp>
        <p:nvSpPr>
          <p:cNvPr id="7" name="Text Placeholder 6">
            <a:extLst>
              <a:ext uri="{FF2B5EF4-FFF2-40B4-BE49-F238E27FC236}">
                <a16:creationId xmlns:a16="http://schemas.microsoft.com/office/drawing/2014/main" id="{2C05F560-0912-4033-93C3-F7C73BE411B9}"/>
              </a:ext>
            </a:extLst>
          </p:cNvPr>
          <p:cNvSpPr>
            <a:spLocks noGrp="1" noChangeAspect="1"/>
          </p:cNvSpPr>
          <p:nvPr>
            <p:ph type="body" sz="quarter" idx="13"/>
          </p:nvPr>
        </p:nvSpPr>
        <p:spPr>
          <a:xfrm>
            <a:off x="1404000" y="1044000"/>
            <a:ext cx="2700000" cy="2700000"/>
          </a:xfrm>
          <a:prstGeom prst="ellipse">
            <a:avLst/>
          </a:prstGeom>
          <a:solidFill>
            <a:schemeClr val="accent1"/>
          </a:solidFill>
        </p:spPr>
        <p:txBody>
          <a:bodyPr bIns="72000" anchor="ctr" anchorCtr="0"/>
          <a:lstStyle>
            <a:lvl1pPr marL="0" indent="0" algn="ctr">
              <a:lnSpc>
                <a:spcPts val="1590"/>
              </a:lnSpc>
              <a:buNone/>
              <a:defRPr sz="1410">
                <a:solidFill>
                  <a:schemeClr val="bg1"/>
                </a:solidFill>
              </a:defRPr>
            </a:lvl1pPr>
          </a:lstStyle>
          <a:p>
            <a:pPr lvl="0"/>
            <a:r>
              <a:rPr lang="en-US"/>
              <a:t>Click to edit Master text styles</a:t>
            </a:r>
          </a:p>
        </p:txBody>
      </p:sp>
      <p:sp>
        <p:nvSpPr>
          <p:cNvPr id="8" name="Text Placeholder 6">
            <a:extLst>
              <a:ext uri="{FF2B5EF4-FFF2-40B4-BE49-F238E27FC236}">
                <a16:creationId xmlns:a16="http://schemas.microsoft.com/office/drawing/2014/main" id="{A5CDB310-1C7B-49D2-A591-201A8C5DAC10}"/>
              </a:ext>
            </a:extLst>
          </p:cNvPr>
          <p:cNvSpPr>
            <a:spLocks noGrp="1" noChangeAspect="1"/>
          </p:cNvSpPr>
          <p:nvPr>
            <p:ph type="body" sz="quarter" idx="14"/>
          </p:nvPr>
        </p:nvSpPr>
        <p:spPr>
          <a:xfrm>
            <a:off x="4746600" y="1044000"/>
            <a:ext cx="2700000" cy="2700000"/>
          </a:xfrm>
          <a:prstGeom prst="ellipse">
            <a:avLst/>
          </a:prstGeom>
          <a:solidFill>
            <a:schemeClr val="accent4"/>
          </a:solidFill>
        </p:spPr>
        <p:txBody>
          <a:bodyPr bIns="72000" anchor="ctr" anchorCtr="0"/>
          <a:lstStyle>
            <a:lvl1pPr marL="0" indent="0" algn="ctr">
              <a:lnSpc>
                <a:spcPts val="1590"/>
              </a:lnSpc>
              <a:buNone/>
              <a:defRPr sz="1410">
                <a:solidFill>
                  <a:schemeClr val="bg1"/>
                </a:solidFill>
              </a:defRPr>
            </a:lvl1pPr>
          </a:lstStyle>
          <a:p>
            <a:pPr lvl="0"/>
            <a:r>
              <a:rPr lang="en-US"/>
              <a:t>Click to edit Master text styles</a:t>
            </a:r>
          </a:p>
        </p:txBody>
      </p:sp>
      <p:sp>
        <p:nvSpPr>
          <p:cNvPr id="9" name="Text Placeholder 6">
            <a:extLst>
              <a:ext uri="{FF2B5EF4-FFF2-40B4-BE49-F238E27FC236}">
                <a16:creationId xmlns:a16="http://schemas.microsoft.com/office/drawing/2014/main" id="{9EA1E10F-8C41-4F78-A800-FA323D20EB75}"/>
              </a:ext>
            </a:extLst>
          </p:cNvPr>
          <p:cNvSpPr>
            <a:spLocks noGrp="1" noChangeAspect="1"/>
          </p:cNvSpPr>
          <p:nvPr>
            <p:ph type="body" sz="quarter" idx="15"/>
          </p:nvPr>
        </p:nvSpPr>
        <p:spPr>
          <a:xfrm>
            <a:off x="8089200" y="1044000"/>
            <a:ext cx="2700000" cy="2700000"/>
          </a:xfrm>
          <a:prstGeom prst="ellipse">
            <a:avLst/>
          </a:prstGeom>
          <a:solidFill>
            <a:schemeClr val="accent5"/>
          </a:solidFill>
        </p:spPr>
        <p:txBody>
          <a:bodyPr bIns="72000" anchor="ctr" anchorCtr="0"/>
          <a:lstStyle>
            <a:lvl1pPr marL="0" indent="0" algn="ctr">
              <a:lnSpc>
                <a:spcPts val="1590"/>
              </a:lnSpc>
              <a:buNone/>
              <a:defRPr sz="1410">
                <a:solidFill>
                  <a:schemeClr val="bg1"/>
                </a:solidFill>
              </a:defRPr>
            </a:lvl1pPr>
          </a:lstStyle>
          <a:p>
            <a:pPr lvl="0"/>
            <a:r>
              <a:rPr lang="en-US"/>
              <a:t>Click to edit Master text styles</a:t>
            </a:r>
          </a:p>
        </p:txBody>
      </p:sp>
      <p:sp>
        <p:nvSpPr>
          <p:cNvPr id="10" name="Text Placeholder 6">
            <a:extLst>
              <a:ext uri="{FF2B5EF4-FFF2-40B4-BE49-F238E27FC236}">
                <a16:creationId xmlns:a16="http://schemas.microsoft.com/office/drawing/2014/main" id="{93B985E0-59D5-477E-A3D4-71BD2C33554A}"/>
              </a:ext>
            </a:extLst>
          </p:cNvPr>
          <p:cNvSpPr>
            <a:spLocks noGrp="1" noChangeAspect="1"/>
          </p:cNvSpPr>
          <p:nvPr>
            <p:ph type="body" sz="quarter" idx="16"/>
          </p:nvPr>
        </p:nvSpPr>
        <p:spPr>
          <a:xfrm>
            <a:off x="3075300" y="3600000"/>
            <a:ext cx="2700000" cy="2700000"/>
          </a:xfrm>
          <a:prstGeom prst="ellipse">
            <a:avLst/>
          </a:prstGeom>
          <a:solidFill>
            <a:schemeClr val="accent3"/>
          </a:solidFill>
        </p:spPr>
        <p:txBody>
          <a:bodyPr bIns="72000" anchor="ctr" anchorCtr="0"/>
          <a:lstStyle>
            <a:lvl1pPr marL="0" indent="0" algn="ctr">
              <a:lnSpc>
                <a:spcPts val="1590"/>
              </a:lnSpc>
              <a:buNone/>
              <a:defRPr sz="1410">
                <a:solidFill>
                  <a:schemeClr val="bg1"/>
                </a:solidFill>
              </a:defRPr>
            </a:lvl1pPr>
          </a:lstStyle>
          <a:p>
            <a:pPr lvl="0"/>
            <a:r>
              <a:rPr lang="en-US"/>
              <a:t>Click to edit Master text styles</a:t>
            </a:r>
          </a:p>
        </p:txBody>
      </p:sp>
      <p:sp>
        <p:nvSpPr>
          <p:cNvPr id="11" name="Text Placeholder 6">
            <a:extLst>
              <a:ext uri="{FF2B5EF4-FFF2-40B4-BE49-F238E27FC236}">
                <a16:creationId xmlns:a16="http://schemas.microsoft.com/office/drawing/2014/main" id="{13FF9E45-0FEC-4082-894A-E0B17AE72BC5}"/>
              </a:ext>
            </a:extLst>
          </p:cNvPr>
          <p:cNvSpPr>
            <a:spLocks noGrp="1" noChangeAspect="1"/>
          </p:cNvSpPr>
          <p:nvPr>
            <p:ph type="body" sz="quarter" idx="17"/>
          </p:nvPr>
        </p:nvSpPr>
        <p:spPr>
          <a:xfrm>
            <a:off x="6417900" y="3600000"/>
            <a:ext cx="2700000" cy="2700000"/>
          </a:xfrm>
          <a:prstGeom prst="ellipse">
            <a:avLst/>
          </a:prstGeom>
          <a:solidFill>
            <a:schemeClr val="accent6"/>
          </a:solidFill>
        </p:spPr>
        <p:txBody>
          <a:bodyPr bIns="72000" anchor="ctr" anchorCtr="0"/>
          <a:lstStyle>
            <a:lvl1pPr marL="0" indent="0" algn="ctr">
              <a:lnSpc>
                <a:spcPts val="1590"/>
              </a:lnSpc>
              <a:buNone/>
              <a:defRPr sz="141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22783889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Process diagram">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0569E6-90FA-4CC2-8D14-9F7CF2E0946B}"/>
              </a:ext>
            </a:extLst>
          </p:cNvPr>
          <p:cNvSpPr>
            <a:spLocks noGrp="1"/>
          </p:cNvSpPr>
          <p:nvPr>
            <p:ph type="title"/>
          </p:nvPr>
        </p:nvSpPr>
        <p:spPr/>
        <p:txBody>
          <a:bodyPr/>
          <a:lstStyle/>
          <a:p>
            <a:r>
              <a:rPr lang="en-US"/>
              <a:t>Click to edit Master title style</a:t>
            </a:r>
            <a:endParaRPr lang="en-GB" dirty="0"/>
          </a:p>
        </p:txBody>
      </p:sp>
      <p:sp>
        <p:nvSpPr>
          <p:cNvPr id="3" name="Date Placeholder 2">
            <a:extLst>
              <a:ext uri="{FF2B5EF4-FFF2-40B4-BE49-F238E27FC236}">
                <a16:creationId xmlns:a16="http://schemas.microsoft.com/office/drawing/2014/main" id="{8DD50494-86A7-4937-97D4-37C2408F5241}"/>
              </a:ext>
            </a:extLst>
          </p:cNvPr>
          <p:cNvSpPr>
            <a:spLocks noGrp="1"/>
          </p:cNvSpPr>
          <p:nvPr>
            <p:ph type="dt" sz="half" idx="10"/>
          </p:nvPr>
        </p:nvSpPr>
        <p:spPr>
          <a:xfrm>
            <a:off x="493192" y="7532007"/>
            <a:ext cx="2844800" cy="288000"/>
          </a:xfrm>
          <a:prstGeom prst="rect">
            <a:avLst/>
          </a:prstGeom>
        </p:spPr>
        <p:txBody>
          <a:bodyPr vert="horz" lIns="0" tIns="0" rIns="0" bIns="0" rtlCol="0" anchor="b" anchorCtr="0">
            <a:noAutofit/>
          </a:bodyPr>
          <a:lstStyle>
            <a:defPPr>
              <a:defRPr lang="en-US"/>
            </a:defPPr>
            <a:lvl1pPr marL="0" algn="l"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0B7A701-B70B-48A4-9EFB-4F00A3212127}" type="datetime3">
              <a:rPr lang="en-US" smtClean="0"/>
              <a:pPr/>
              <a:t>1 July 2024</a:t>
            </a:fld>
            <a:endParaRPr lang="en-GB" noProof="0"/>
          </a:p>
        </p:txBody>
      </p:sp>
      <p:sp>
        <p:nvSpPr>
          <p:cNvPr id="4" name="Footer Placeholder 3">
            <a:extLst>
              <a:ext uri="{FF2B5EF4-FFF2-40B4-BE49-F238E27FC236}">
                <a16:creationId xmlns:a16="http://schemas.microsoft.com/office/drawing/2014/main" id="{823A535C-B684-4A5A-A436-989BCF2136EF}"/>
              </a:ext>
            </a:extLst>
          </p:cNvPr>
          <p:cNvSpPr>
            <a:spLocks noGrp="1"/>
          </p:cNvSpPr>
          <p:nvPr>
            <p:ph type="ftr" sz="quarter" idx="11"/>
          </p:nvPr>
        </p:nvSpPr>
        <p:spPr>
          <a:xfrm>
            <a:off x="471600" y="6400800"/>
            <a:ext cx="5400000" cy="226800"/>
          </a:xfrm>
          <a:prstGeom prst="rect">
            <a:avLst/>
          </a:prstGeom>
        </p:spPr>
        <p:txBody>
          <a:bodyPr vert="horz" lIns="0" tIns="0" rIns="0" bIns="0" rtlCol="0" anchor="t" anchorCtr="0">
            <a:noAutofit/>
          </a:bodyPr>
          <a:lstStyle>
            <a:defPPr>
              <a:defRPr lang="en-US"/>
            </a:defPPr>
            <a:lvl1pPr marL="0" algn="l" defTabSz="914400" rtl="0" eaLnBrk="1" latinLnBrk="0" hangingPunct="1">
              <a:defRPr lang="en-GB" sz="800" kern="1200" noProof="0">
                <a:solidFill>
                  <a:schemeClr val="accent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ts val="970"/>
              </a:lnSpc>
            </a:pPr>
            <a:r>
              <a:rPr lang="en-GB"/>
              <a:t>© Colt Technology Services  |  Presentation title here</a:t>
            </a:r>
            <a:endParaRPr lang="en-GB" dirty="0">
              <a:solidFill>
                <a:schemeClr val="accent2"/>
              </a:solidFill>
            </a:endParaRPr>
          </a:p>
        </p:txBody>
      </p:sp>
      <p:sp>
        <p:nvSpPr>
          <p:cNvPr id="5" name="Slide Number Placeholder 4">
            <a:extLst>
              <a:ext uri="{FF2B5EF4-FFF2-40B4-BE49-F238E27FC236}">
                <a16:creationId xmlns:a16="http://schemas.microsoft.com/office/drawing/2014/main" id="{AAF80D53-ACFA-4215-8119-91E082705FEE}"/>
              </a:ext>
            </a:extLst>
          </p:cNvPr>
          <p:cNvSpPr>
            <a:spLocks noGrp="1"/>
          </p:cNvSpPr>
          <p:nvPr>
            <p:ph type="sldNum" sz="quarter" idx="12"/>
          </p:nvPr>
        </p:nvSpPr>
        <p:spPr>
          <a:xfrm>
            <a:off x="11278800" y="6400800"/>
            <a:ext cx="442800" cy="226800"/>
          </a:xfrm>
          <a:prstGeom prst="rect">
            <a:avLst/>
          </a:prstGeom>
        </p:spPr>
        <p:txBody>
          <a:bodyPr/>
          <a:lstStyle/>
          <a:p>
            <a:pPr algn="r">
              <a:lnSpc>
                <a:spcPts val="970"/>
              </a:lnSpc>
            </a:pPr>
            <a:fld id="{0B868178-02AE-42FC-958D-6B8F13B60175}" type="slidenum">
              <a:rPr lang="en-GB" smtClean="0"/>
              <a:pPr algn="r">
                <a:lnSpc>
                  <a:spcPts val="970"/>
                </a:lnSpc>
              </a:pPr>
              <a:t>‹#›</a:t>
            </a:fld>
            <a:endParaRPr lang="en-GB" sz="800" noProof="0">
              <a:solidFill>
                <a:schemeClr val="bg1"/>
              </a:solidFill>
            </a:endParaRPr>
          </a:p>
        </p:txBody>
      </p:sp>
      <p:sp>
        <p:nvSpPr>
          <p:cNvPr id="7" name="Text Placeholder 6">
            <a:extLst>
              <a:ext uri="{FF2B5EF4-FFF2-40B4-BE49-F238E27FC236}">
                <a16:creationId xmlns:a16="http://schemas.microsoft.com/office/drawing/2014/main" id="{2C05F560-0912-4033-93C3-F7C73BE411B9}"/>
              </a:ext>
            </a:extLst>
          </p:cNvPr>
          <p:cNvSpPr>
            <a:spLocks noGrp="1" noChangeAspect="1"/>
          </p:cNvSpPr>
          <p:nvPr>
            <p:ph type="body" sz="quarter" idx="13" hasCustomPrompt="1"/>
          </p:nvPr>
        </p:nvSpPr>
        <p:spPr>
          <a:xfrm>
            <a:off x="468000" y="1800000"/>
            <a:ext cx="1944000" cy="1944000"/>
          </a:xfrm>
          <a:prstGeom prst="ellipse">
            <a:avLst/>
          </a:prstGeom>
          <a:solidFill>
            <a:schemeClr val="accent1"/>
          </a:solidFill>
        </p:spPr>
        <p:txBody>
          <a:bodyPr bIns="72000" anchor="ctr" anchorCtr="0"/>
          <a:lstStyle>
            <a:lvl1pPr marL="0" indent="0" algn="ctr">
              <a:lnSpc>
                <a:spcPts val="6000"/>
              </a:lnSpc>
              <a:spcAft>
                <a:spcPts val="1200"/>
              </a:spcAft>
              <a:buNone/>
              <a:defRPr sz="6000">
                <a:solidFill>
                  <a:schemeClr val="bg1"/>
                </a:solidFill>
              </a:defRPr>
            </a:lvl1pPr>
            <a:lvl2pPr marL="266700" indent="0" algn="ctr">
              <a:lnSpc>
                <a:spcPts val="1410"/>
              </a:lnSpc>
              <a:buNone/>
              <a:defRPr sz="1410">
                <a:solidFill>
                  <a:schemeClr val="bg1"/>
                </a:solidFill>
              </a:defRPr>
            </a:lvl2pPr>
          </a:lstStyle>
          <a:p>
            <a:pPr lvl="0"/>
            <a:r>
              <a:rPr lang="en-US" dirty="0"/>
              <a:t>0</a:t>
            </a:r>
          </a:p>
          <a:p>
            <a:pPr lvl="1"/>
            <a:r>
              <a:rPr lang="en-US" dirty="0"/>
              <a:t>Level 2</a:t>
            </a:r>
            <a:endParaRPr lang="en-GB" dirty="0"/>
          </a:p>
        </p:txBody>
      </p:sp>
      <p:sp>
        <p:nvSpPr>
          <p:cNvPr id="8" name="Text Placeholder 6">
            <a:extLst>
              <a:ext uri="{FF2B5EF4-FFF2-40B4-BE49-F238E27FC236}">
                <a16:creationId xmlns:a16="http://schemas.microsoft.com/office/drawing/2014/main" id="{A5CDB310-1C7B-49D2-A591-201A8C5DAC10}"/>
              </a:ext>
            </a:extLst>
          </p:cNvPr>
          <p:cNvSpPr>
            <a:spLocks noGrp="1" noChangeAspect="1"/>
          </p:cNvSpPr>
          <p:nvPr>
            <p:ph type="body" sz="quarter" idx="14" hasCustomPrompt="1"/>
          </p:nvPr>
        </p:nvSpPr>
        <p:spPr>
          <a:xfrm>
            <a:off x="2796300" y="1800000"/>
            <a:ext cx="1944000" cy="1944000"/>
          </a:xfrm>
          <a:prstGeom prst="ellipse">
            <a:avLst/>
          </a:prstGeom>
          <a:solidFill>
            <a:schemeClr val="accent4"/>
          </a:solidFill>
        </p:spPr>
        <p:txBody>
          <a:bodyPr bIns="72000" anchor="ctr" anchorCtr="0"/>
          <a:lstStyle>
            <a:lvl1pPr marL="0" indent="0" algn="ctr">
              <a:lnSpc>
                <a:spcPts val="6000"/>
              </a:lnSpc>
              <a:spcAft>
                <a:spcPts val="1200"/>
              </a:spcAft>
              <a:buNone/>
              <a:defRPr sz="6000">
                <a:solidFill>
                  <a:schemeClr val="bg1"/>
                </a:solidFill>
              </a:defRPr>
            </a:lvl1pPr>
            <a:lvl2pPr marL="266700" indent="0" algn="ctr">
              <a:lnSpc>
                <a:spcPts val="1410"/>
              </a:lnSpc>
              <a:buNone/>
              <a:defRPr sz="1410">
                <a:solidFill>
                  <a:schemeClr val="bg1"/>
                </a:solidFill>
              </a:defRPr>
            </a:lvl2pPr>
          </a:lstStyle>
          <a:p>
            <a:pPr lvl="0"/>
            <a:r>
              <a:rPr lang="en-US" dirty="0"/>
              <a:t>0</a:t>
            </a:r>
          </a:p>
          <a:p>
            <a:pPr lvl="1"/>
            <a:r>
              <a:rPr lang="en-US" dirty="0"/>
              <a:t>Level 2</a:t>
            </a:r>
            <a:endParaRPr lang="en-GB" dirty="0"/>
          </a:p>
        </p:txBody>
      </p:sp>
      <p:sp>
        <p:nvSpPr>
          <p:cNvPr id="9" name="Text Placeholder 6">
            <a:extLst>
              <a:ext uri="{FF2B5EF4-FFF2-40B4-BE49-F238E27FC236}">
                <a16:creationId xmlns:a16="http://schemas.microsoft.com/office/drawing/2014/main" id="{9EA1E10F-8C41-4F78-A800-FA323D20EB75}"/>
              </a:ext>
            </a:extLst>
          </p:cNvPr>
          <p:cNvSpPr>
            <a:spLocks noGrp="1" noChangeAspect="1"/>
          </p:cNvSpPr>
          <p:nvPr>
            <p:ph type="body" sz="quarter" idx="15" hasCustomPrompt="1"/>
          </p:nvPr>
        </p:nvSpPr>
        <p:spPr>
          <a:xfrm>
            <a:off x="5124600" y="1800000"/>
            <a:ext cx="1944000" cy="1944000"/>
          </a:xfrm>
          <a:prstGeom prst="ellipse">
            <a:avLst/>
          </a:prstGeom>
          <a:solidFill>
            <a:schemeClr val="accent5"/>
          </a:solidFill>
        </p:spPr>
        <p:txBody>
          <a:bodyPr bIns="72000" anchor="ctr" anchorCtr="0"/>
          <a:lstStyle>
            <a:lvl1pPr marL="0" indent="0" algn="ctr">
              <a:lnSpc>
                <a:spcPts val="6000"/>
              </a:lnSpc>
              <a:spcAft>
                <a:spcPts val="1200"/>
              </a:spcAft>
              <a:buNone/>
              <a:defRPr sz="6000">
                <a:solidFill>
                  <a:schemeClr val="bg1"/>
                </a:solidFill>
              </a:defRPr>
            </a:lvl1pPr>
            <a:lvl2pPr marL="266700" indent="0" algn="ctr">
              <a:lnSpc>
                <a:spcPts val="1410"/>
              </a:lnSpc>
              <a:buNone/>
              <a:defRPr sz="1410">
                <a:solidFill>
                  <a:schemeClr val="bg1"/>
                </a:solidFill>
              </a:defRPr>
            </a:lvl2pPr>
          </a:lstStyle>
          <a:p>
            <a:pPr lvl="0"/>
            <a:r>
              <a:rPr lang="en-US" dirty="0"/>
              <a:t>0</a:t>
            </a:r>
          </a:p>
          <a:p>
            <a:pPr lvl="1"/>
            <a:r>
              <a:rPr lang="en-US" dirty="0"/>
              <a:t>Level 2</a:t>
            </a:r>
            <a:endParaRPr lang="en-GB" dirty="0"/>
          </a:p>
        </p:txBody>
      </p:sp>
      <p:sp>
        <p:nvSpPr>
          <p:cNvPr id="10" name="Text Placeholder 6">
            <a:extLst>
              <a:ext uri="{FF2B5EF4-FFF2-40B4-BE49-F238E27FC236}">
                <a16:creationId xmlns:a16="http://schemas.microsoft.com/office/drawing/2014/main" id="{93B985E0-59D5-477E-A3D4-71BD2C33554A}"/>
              </a:ext>
            </a:extLst>
          </p:cNvPr>
          <p:cNvSpPr>
            <a:spLocks noGrp="1" noChangeAspect="1"/>
          </p:cNvSpPr>
          <p:nvPr>
            <p:ph type="body" sz="quarter" idx="16" hasCustomPrompt="1"/>
          </p:nvPr>
        </p:nvSpPr>
        <p:spPr>
          <a:xfrm>
            <a:off x="7452900" y="1800000"/>
            <a:ext cx="1944000" cy="1944000"/>
          </a:xfrm>
          <a:prstGeom prst="ellipse">
            <a:avLst/>
          </a:prstGeom>
          <a:solidFill>
            <a:schemeClr val="accent3"/>
          </a:solidFill>
        </p:spPr>
        <p:txBody>
          <a:bodyPr bIns="72000" anchor="ctr" anchorCtr="0"/>
          <a:lstStyle>
            <a:lvl1pPr marL="0" indent="0" algn="ctr">
              <a:lnSpc>
                <a:spcPts val="6000"/>
              </a:lnSpc>
              <a:spcAft>
                <a:spcPts val="1200"/>
              </a:spcAft>
              <a:buNone/>
              <a:defRPr sz="6000">
                <a:solidFill>
                  <a:schemeClr val="bg1"/>
                </a:solidFill>
              </a:defRPr>
            </a:lvl1pPr>
            <a:lvl2pPr marL="266700" indent="0" algn="ctr">
              <a:lnSpc>
                <a:spcPts val="1410"/>
              </a:lnSpc>
              <a:buNone/>
              <a:defRPr sz="1410">
                <a:solidFill>
                  <a:schemeClr val="bg1"/>
                </a:solidFill>
              </a:defRPr>
            </a:lvl2pPr>
          </a:lstStyle>
          <a:p>
            <a:pPr lvl="0"/>
            <a:r>
              <a:rPr lang="en-US" dirty="0"/>
              <a:t>0</a:t>
            </a:r>
          </a:p>
          <a:p>
            <a:pPr lvl="1"/>
            <a:r>
              <a:rPr lang="en-US" dirty="0"/>
              <a:t>Level 2</a:t>
            </a:r>
            <a:endParaRPr lang="en-GB" dirty="0"/>
          </a:p>
        </p:txBody>
      </p:sp>
      <p:sp>
        <p:nvSpPr>
          <p:cNvPr id="11" name="Text Placeholder 6">
            <a:extLst>
              <a:ext uri="{FF2B5EF4-FFF2-40B4-BE49-F238E27FC236}">
                <a16:creationId xmlns:a16="http://schemas.microsoft.com/office/drawing/2014/main" id="{13FF9E45-0FEC-4082-894A-E0B17AE72BC5}"/>
              </a:ext>
            </a:extLst>
          </p:cNvPr>
          <p:cNvSpPr>
            <a:spLocks noGrp="1" noChangeAspect="1"/>
          </p:cNvSpPr>
          <p:nvPr>
            <p:ph type="body" sz="quarter" idx="17" hasCustomPrompt="1"/>
          </p:nvPr>
        </p:nvSpPr>
        <p:spPr>
          <a:xfrm>
            <a:off x="9781200" y="1800000"/>
            <a:ext cx="1944000" cy="1944000"/>
          </a:xfrm>
          <a:prstGeom prst="ellipse">
            <a:avLst/>
          </a:prstGeom>
          <a:solidFill>
            <a:schemeClr val="accent6"/>
          </a:solidFill>
        </p:spPr>
        <p:txBody>
          <a:bodyPr bIns="72000" anchor="ctr" anchorCtr="0"/>
          <a:lstStyle>
            <a:lvl1pPr marL="0" indent="0" algn="ctr">
              <a:lnSpc>
                <a:spcPts val="6000"/>
              </a:lnSpc>
              <a:spcAft>
                <a:spcPts val="1200"/>
              </a:spcAft>
              <a:buNone/>
              <a:defRPr sz="6000">
                <a:solidFill>
                  <a:schemeClr val="bg1"/>
                </a:solidFill>
              </a:defRPr>
            </a:lvl1pPr>
            <a:lvl2pPr marL="266700" indent="0" algn="ctr">
              <a:lnSpc>
                <a:spcPts val="1410"/>
              </a:lnSpc>
              <a:buNone/>
              <a:defRPr sz="1410">
                <a:solidFill>
                  <a:schemeClr val="bg1"/>
                </a:solidFill>
              </a:defRPr>
            </a:lvl2pPr>
          </a:lstStyle>
          <a:p>
            <a:pPr lvl="0"/>
            <a:r>
              <a:rPr lang="en-US" dirty="0"/>
              <a:t>0</a:t>
            </a:r>
          </a:p>
          <a:p>
            <a:pPr lvl="1"/>
            <a:r>
              <a:rPr lang="en-US" dirty="0"/>
              <a:t>Level 2</a:t>
            </a:r>
            <a:endParaRPr lang="en-GB" dirty="0"/>
          </a:p>
        </p:txBody>
      </p:sp>
      <p:sp>
        <p:nvSpPr>
          <p:cNvPr id="18" name="Text Placeholder 21">
            <a:extLst>
              <a:ext uri="{FF2B5EF4-FFF2-40B4-BE49-F238E27FC236}">
                <a16:creationId xmlns:a16="http://schemas.microsoft.com/office/drawing/2014/main" id="{56EFED39-4675-4D68-B9FB-26A294928B93}"/>
              </a:ext>
            </a:extLst>
          </p:cNvPr>
          <p:cNvSpPr>
            <a:spLocks noGrp="1"/>
          </p:cNvSpPr>
          <p:nvPr>
            <p:ph type="body" sz="quarter" idx="22"/>
          </p:nvPr>
        </p:nvSpPr>
        <p:spPr>
          <a:xfrm>
            <a:off x="468000" y="4103999"/>
            <a:ext cx="1944000" cy="2071376"/>
          </a:xfrm>
        </p:spPr>
        <p:txBody>
          <a:bodyPr/>
          <a:lstStyle>
            <a:lvl1pPr marL="0" indent="0" algn="ctr">
              <a:lnSpc>
                <a:spcPts val="1230"/>
              </a:lnSpc>
              <a:buNone/>
              <a:defRPr sz="1060">
                <a:solidFill>
                  <a:schemeClr val="tx2"/>
                </a:solidFill>
              </a:defRPr>
            </a:lvl1pPr>
            <a:lvl2pPr marL="0" indent="0" algn="ctr">
              <a:lnSpc>
                <a:spcPts val="1230"/>
              </a:lnSpc>
              <a:buClr>
                <a:schemeClr val="accent6"/>
              </a:buClr>
              <a:buFont typeface="Arial" panose="020B0604020202020204" pitchFamily="34" charset="0"/>
              <a:buNone/>
              <a:defRPr sz="1060"/>
            </a:lvl2pPr>
          </a:lstStyle>
          <a:p>
            <a:pPr lvl="0"/>
            <a:r>
              <a:rPr lang="en-US"/>
              <a:t>Click to edit Master text styles</a:t>
            </a:r>
          </a:p>
          <a:p>
            <a:pPr lvl="1"/>
            <a:r>
              <a:rPr lang="en-US"/>
              <a:t>Second level</a:t>
            </a:r>
          </a:p>
        </p:txBody>
      </p:sp>
      <p:sp>
        <p:nvSpPr>
          <p:cNvPr id="19" name="Text Placeholder 21">
            <a:extLst>
              <a:ext uri="{FF2B5EF4-FFF2-40B4-BE49-F238E27FC236}">
                <a16:creationId xmlns:a16="http://schemas.microsoft.com/office/drawing/2014/main" id="{5D18E4D3-EB66-4890-87B4-6F6873D652E0}"/>
              </a:ext>
            </a:extLst>
          </p:cNvPr>
          <p:cNvSpPr>
            <a:spLocks noGrp="1"/>
          </p:cNvSpPr>
          <p:nvPr>
            <p:ph type="body" sz="quarter" idx="23"/>
          </p:nvPr>
        </p:nvSpPr>
        <p:spPr>
          <a:xfrm>
            <a:off x="2796300" y="4103999"/>
            <a:ext cx="1944000" cy="2071376"/>
          </a:xfrm>
        </p:spPr>
        <p:txBody>
          <a:bodyPr/>
          <a:lstStyle>
            <a:lvl1pPr marL="0" indent="0" algn="ctr">
              <a:lnSpc>
                <a:spcPts val="1230"/>
              </a:lnSpc>
              <a:buNone/>
              <a:defRPr sz="1060">
                <a:solidFill>
                  <a:schemeClr val="tx2"/>
                </a:solidFill>
              </a:defRPr>
            </a:lvl1pPr>
            <a:lvl2pPr marL="0" indent="0" algn="ctr">
              <a:lnSpc>
                <a:spcPts val="1230"/>
              </a:lnSpc>
              <a:buClr>
                <a:schemeClr val="accent6"/>
              </a:buClr>
              <a:buFont typeface="Arial" panose="020B0604020202020204" pitchFamily="34" charset="0"/>
              <a:buNone/>
              <a:defRPr sz="1060"/>
            </a:lvl2pPr>
          </a:lstStyle>
          <a:p>
            <a:pPr lvl="0"/>
            <a:r>
              <a:rPr lang="en-US"/>
              <a:t>Click to edit Master text styles</a:t>
            </a:r>
          </a:p>
          <a:p>
            <a:pPr lvl="1"/>
            <a:r>
              <a:rPr lang="en-US"/>
              <a:t>Second level</a:t>
            </a:r>
          </a:p>
        </p:txBody>
      </p:sp>
      <p:sp>
        <p:nvSpPr>
          <p:cNvPr id="21" name="Text Placeholder 21">
            <a:extLst>
              <a:ext uri="{FF2B5EF4-FFF2-40B4-BE49-F238E27FC236}">
                <a16:creationId xmlns:a16="http://schemas.microsoft.com/office/drawing/2014/main" id="{12516868-3302-4C14-9A1B-F5A67AB96E43}"/>
              </a:ext>
            </a:extLst>
          </p:cNvPr>
          <p:cNvSpPr>
            <a:spLocks noGrp="1"/>
          </p:cNvSpPr>
          <p:nvPr>
            <p:ph type="body" sz="quarter" idx="25"/>
          </p:nvPr>
        </p:nvSpPr>
        <p:spPr>
          <a:xfrm>
            <a:off x="5124000" y="4103999"/>
            <a:ext cx="1944000" cy="2071376"/>
          </a:xfrm>
        </p:spPr>
        <p:txBody>
          <a:bodyPr/>
          <a:lstStyle>
            <a:lvl1pPr marL="0" indent="0" algn="ctr">
              <a:lnSpc>
                <a:spcPts val="1230"/>
              </a:lnSpc>
              <a:buNone/>
              <a:defRPr sz="1060">
                <a:solidFill>
                  <a:schemeClr val="tx2"/>
                </a:solidFill>
              </a:defRPr>
            </a:lvl1pPr>
            <a:lvl2pPr marL="0" indent="0" algn="ctr">
              <a:lnSpc>
                <a:spcPts val="1230"/>
              </a:lnSpc>
              <a:buClr>
                <a:schemeClr val="accent6"/>
              </a:buClr>
              <a:buFont typeface="Arial" panose="020B0604020202020204" pitchFamily="34" charset="0"/>
              <a:buNone/>
              <a:defRPr sz="1060"/>
            </a:lvl2pPr>
          </a:lstStyle>
          <a:p>
            <a:pPr lvl="0"/>
            <a:r>
              <a:rPr lang="en-US"/>
              <a:t>Click to edit Master text styles</a:t>
            </a:r>
          </a:p>
          <a:p>
            <a:pPr lvl="1"/>
            <a:r>
              <a:rPr lang="en-US"/>
              <a:t>Second level</a:t>
            </a:r>
          </a:p>
        </p:txBody>
      </p:sp>
      <p:sp>
        <p:nvSpPr>
          <p:cNvPr id="22" name="Text Placeholder 21">
            <a:extLst>
              <a:ext uri="{FF2B5EF4-FFF2-40B4-BE49-F238E27FC236}">
                <a16:creationId xmlns:a16="http://schemas.microsoft.com/office/drawing/2014/main" id="{F0210EC0-BE02-4059-8F9D-D336BFB873A8}"/>
              </a:ext>
            </a:extLst>
          </p:cNvPr>
          <p:cNvSpPr>
            <a:spLocks noGrp="1"/>
          </p:cNvSpPr>
          <p:nvPr>
            <p:ph type="body" sz="quarter" idx="26"/>
          </p:nvPr>
        </p:nvSpPr>
        <p:spPr>
          <a:xfrm>
            <a:off x="7452900" y="4104000"/>
            <a:ext cx="1944000" cy="2071376"/>
          </a:xfrm>
        </p:spPr>
        <p:txBody>
          <a:bodyPr/>
          <a:lstStyle>
            <a:lvl1pPr marL="0" indent="0" algn="ctr">
              <a:lnSpc>
                <a:spcPts val="1230"/>
              </a:lnSpc>
              <a:buNone/>
              <a:defRPr sz="1060">
                <a:solidFill>
                  <a:schemeClr val="tx2"/>
                </a:solidFill>
              </a:defRPr>
            </a:lvl1pPr>
            <a:lvl2pPr marL="0" indent="0" algn="ctr">
              <a:lnSpc>
                <a:spcPts val="1230"/>
              </a:lnSpc>
              <a:buClr>
                <a:schemeClr val="accent6"/>
              </a:buClr>
              <a:buFont typeface="Arial" panose="020B0604020202020204" pitchFamily="34" charset="0"/>
              <a:buNone/>
              <a:defRPr sz="1060"/>
            </a:lvl2pPr>
          </a:lstStyle>
          <a:p>
            <a:pPr lvl="0"/>
            <a:r>
              <a:rPr lang="en-US"/>
              <a:t>Click to edit Master text styles</a:t>
            </a:r>
          </a:p>
          <a:p>
            <a:pPr lvl="1"/>
            <a:r>
              <a:rPr lang="en-US"/>
              <a:t>Second level</a:t>
            </a:r>
          </a:p>
        </p:txBody>
      </p:sp>
      <p:sp>
        <p:nvSpPr>
          <p:cNvPr id="23" name="Text Placeholder 21">
            <a:extLst>
              <a:ext uri="{FF2B5EF4-FFF2-40B4-BE49-F238E27FC236}">
                <a16:creationId xmlns:a16="http://schemas.microsoft.com/office/drawing/2014/main" id="{F6571880-7AF6-4A9C-9E91-1B90F93DA668}"/>
              </a:ext>
            </a:extLst>
          </p:cNvPr>
          <p:cNvSpPr>
            <a:spLocks noGrp="1"/>
          </p:cNvSpPr>
          <p:nvPr>
            <p:ph type="body" sz="quarter" idx="27"/>
          </p:nvPr>
        </p:nvSpPr>
        <p:spPr>
          <a:xfrm>
            <a:off x="9781200" y="4104000"/>
            <a:ext cx="1944000" cy="2071376"/>
          </a:xfrm>
        </p:spPr>
        <p:txBody>
          <a:bodyPr/>
          <a:lstStyle>
            <a:lvl1pPr marL="0" indent="0" algn="ctr">
              <a:lnSpc>
                <a:spcPts val="1230"/>
              </a:lnSpc>
              <a:buNone/>
              <a:defRPr sz="1060">
                <a:solidFill>
                  <a:schemeClr val="tx2"/>
                </a:solidFill>
              </a:defRPr>
            </a:lvl1pPr>
            <a:lvl2pPr marL="0" indent="0" algn="ctr">
              <a:lnSpc>
                <a:spcPts val="1230"/>
              </a:lnSpc>
              <a:buClr>
                <a:schemeClr val="accent6"/>
              </a:buClr>
              <a:buFont typeface="Arial" panose="020B0604020202020204" pitchFamily="34" charset="0"/>
              <a:buNone/>
              <a:defRPr sz="106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55978614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INTRODUCTION: 2 PEOPL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9" name="Tijdelijke aanduiding voor afbeelding 12">
            <a:extLst>
              <a:ext uri="{FF2B5EF4-FFF2-40B4-BE49-F238E27FC236}">
                <a16:creationId xmlns:a16="http://schemas.microsoft.com/office/drawing/2014/main" id="{27BACDE8-BA7B-4623-B097-3849D34912CC}"/>
              </a:ext>
            </a:extLst>
          </p:cNvPr>
          <p:cNvSpPr>
            <a:spLocks noGrp="1"/>
          </p:cNvSpPr>
          <p:nvPr>
            <p:ph type="pic" sz="quarter" idx="14" hasCustomPrompt="1"/>
          </p:nvPr>
        </p:nvSpPr>
        <p:spPr>
          <a:xfrm>
            <a:off x="764089" y="1453020"/>
            <a:ext cx="2247969" cy="3206662"/>
          </a:xfrm>
          <a:solidFill>
            <a:schemeClr val="bg1">
              <a:lumMod val="95000"/>
            </a:schemeClr>
          </a:solidFill>
        </p:spPr>
        <p:txBody>
          <a:bodyPr tIns="2376000"/>
          <a:lstStyle>
            <a:lvl1pPr marL="0" indent="0" algn="ctr">
              <a:buNone/>
              <a:defRPr sz="1050" b="1" baseline="0"/>
            </a:lvl1pPr>
          </a:lstStyle>
          <a:p>
            <a:r>
              <a:rPr kumimoji="0" lang="en-GB" sz="1100" b="0" i="0" u="none" strike="noStrike" kern="0" cap="none" spc="0" normalizeH="0" baseline="0" noProof="0">
                <a:ln>
                  <a:noFill/>
                </a:ln>
                <a:solidFill>
                  <a:srgbClr val="000000"/>
                </a:solidFill>
                <a:effectLst/>
                <a:uLnTx/>
                <a:uFillTx/>
                <a:latin typeface="+mn-lt"/>
                <a:cs typeface="Segoe UI Light" panose="020B0502040204020203" pitchFamily="34" charset="0"/>
              </a:rPr>
              <a:t>Click on the pictogram to </a:t>
            </a:r>
            <a:br>
              <a:rPr kumimoji="0" lang="en-GB"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GB" sz="1100" b="0" i="0" u="none" strike="noStrike" kern="0" cap="none" spc="0" normalizeH="0" baseline="0" noProof="0">
                <a:ln>
                  <a:noFill/>
                </a:ln>
                <a:solidFill>
                  <a:srgbClr val="000000"/>
                </a:solidFill>
                <a:effectLst/>
                <a:uLnTx/>
                <a:uFillTx/>
                <a:latin typeface="+mn-lt"/>
                <a:cs typeface="Segoe UI Light" panose="020B0502040204020203" pitchFamily="34" charset="0"/>
              </a:rPr>
              <a:t>insert a new image.</a:t>
            </a:r>
            <a:endParaRPr lang="en-GB" noProof="0"/>
          </a:p>
        </p:txBody>
      </p:sp>
      <p:sp>
        <p:nvSpPr>
          <p:cNvPr id="38" name="Tijdelijke aanduiding voor afbeelding 12">
            <a:extLst>
              <a:ext uri="{FF2B5EF4-FFF2-40B4-BE49-F238E27FC236}">
                <a16:creationId xmlns:a16="http://schemas.microsoft.com/office/drawing/2014/main" id="{BBC51933-18F1-48F8-A1DC-F25017E86FD7}"/>
              </a:ext>
            </a:extLst>
          </p:cNvPr>
          <p:cNvSpPr>
            <a:spLocks noGrp="1"/>
          </p:cNvSpPr>
          <p:nvPr>
            <p:ph type="pic" sz="quarter" idx="15" hasCustomPrompt="1"/>
          </p:nvPr>
        </p:nvSpPr>
        <p:spPr>
          <a:xfrm>
            <a:off x="6439811" y="1453020"/>
            <a:ext cx="2247969" cy="3206662"/>
          </a:xfrm>
          <a:solidFill>
            <a:schemeClr val="bg1">
              <a:lumMod val="95000"/>
            </a:schemeClr>
          </a:solidFill>
        </p:spPr>
        <p:txBody>
          <a:bodyPr tIns="2376000"/>
          <a:lstStyle>
            <a:lvl1pPr marL="0" indent="0" algn="ctr">
              <a:buNone/>
              <a:defRPr sz="1050" b="1" baseline="0"/>
            </a:lvl1pPr>
          </a:lstStyle>
          <a:p>
            <a:r>
              <a:rPr kumimoji="0" lang="en-GB" sz="1100" b="0" i="0" u="none" strike="noStrike" kern="0" cap="none" spc="0" normalizeH="0" baseline="0" noProof="0">
                <a:ln>
                  <a:noFill/>
                </a:ln>
                <a:solidFill>
                  <a:srgbClr val="000000"/>
                </a:solidFill>
                <a:effectLst/>
                <a:uLnTx/>
                <a:uFillTx/>
                <a:latin typeface="+mn-lt"/>
                <a:cs typeface="Segoe UI Light" panose="020B0502040204020203" pitchFamily="34" charset="0"/>
              </a:rPr>
              <a:t>Click on the pictogram to </a:t>
            </a:r>
            <a:br>
              <a:rPr kumimoji="0" lang="en-GB"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GB" sz="1100" b="0" i="0" u="none" strike="noStrike" kern="0" cap="none" spc="0" normalizeH="0" baseline="0" noProof="0">
                <a:ln>
                  <a:noFill/>
                </a:ln>
                <a:solidFill>
                  <a:srgbClr val="000000"/>
                </a:solidFill>
                <a:effectLst/>
                <a:uLnTx/>
                <a:uFillTx/>
                <a:latin typeface="+mn-lt"/>
                <a:cs typeface="Segoe UI Light" panose="020B0502040204020203" pitchFamily="34" charset="0"/>
              </a:rPr>
              <a:t>insert a new image.</a:t>
            </a:r>
            <a:endParaRPr lang="en-GB" noProof="0"/>
          </a:p>
        </p:txBody>
      </p:sp>
      <p:sp>
        <p:nvSpPr>
          <p:cNvPr id="8" name="Title 1">
            <a:extLst>
              <a:ext uri="{FF2B5EF4-FFF2-40B4-BE49-F238E27FC236}">
                <a16:creationId xmlns:a16="http://schemas.microsoft.com/office/drawing/2014/main" id="{8D0A1F69-6E10-5B4B-AF6A-7CCBA0975288}"/>
              </a:ext>
            </a:extLst>
          </p:cNvPr>
          <p:cNvSpPr>
            <a:spLocks noGrp="1"/>
          </p:cNvSpPr>
          <p:nvPr>
            <p:ph type="title"/>
          </p:nvPr>
        </p:nvSpPr>
        <p:spPr>
          <a:xfrm>
            <a:off x="471600" y="457200"/>
            <a:ext cx="7502400" cy="896938"/>
          </a:xfrm>
        </p:spPr>
        <p:txBody>
          <a:bodyPr/>
          <a:lstStyle/>
          <a:p>
            <a:r>
              <a:rPr lang="en-US"/>
              <a:t>Click to edit Master title style</a:t>
            </a:r>
            <a:endParaRPr lang="en-GB" dirty="0"/>
          </a:p>
        </p:txBody>
      </p:sp>
      <p:sp>
        <p:nvSpPr>
          <p:cNvPr id="2" name="TextBox 1">
            <a:extLst>
              <a:ext uri="{FF2B5EF4-FFF2-40B4-BE49-F238E27FC236}">
                <a16:creationId xmlns:a16="http://schemas.microsoft.com/office/drawing/2014/main" id="{676FA60A-772C-AD4A-A882-4C3CA21ED316}"/>
              </a:ext>
            </a:extLst>
          </p:cNvPr>
          <p:cNvSpPr txBox="1"/>
          <p:nvPr userDrawn="1"/>
        </p:nvSpPr>
        <p:spPr>
          <a:xfrm>
            <a:off x="1143000" y="5817870"/>
            <a:ext cx="0" cy="0"/>
          </a:xfrm>
          <a:prstGeom prst="rect">
            <a:avLst/>
          </a:prstGeom>
          <a:noFill/>
        </p:spPr>
        <p:txBody>
          <a:bodyPr wrap="none" lIns="0" tIns="0" rIns="0" bIns="0" rtlCol="0">
            <a:noAutofit/>
          </a:bodyPr>
          <a:lstStyle/>
          <a:p>
            <a:pPr algn="l">
              <a:lnSpc>
                <a:spcPts val="2290"/>
              </a:lnSpc>
            </a:pPr>
            <a:endParaRPr sz="1940" dirty="0" err="1">
              <a:solidFill>
                <a:schemeClr val="tx2"/>
              </a:solidFill>
            </a:endParaRPr>
          </a:p>
        </p:txBody>
      </p:sp>
      <p:sp>
        <p:nvSpPr>
          <p:cNvPr id="9" name="Tijdelijke aanduiding voor dianummer 5">
            <a:extLst>
              <a:ext uri="{FF2B5EF4-FFF2-40B4-BE49-F238E27FC236}">
                <a16:creationId xmlns:a16="http://schemas.microsoft.com/office/drawing/2014/main" id="{E2D7888C-66A3-0943-8A48-2175104877CB}"/>
              </a:ext>
            </a:extLst>
          </p:cNvPr>
          <p:cNvSpPr>
            <a:spLocks noGrp="1"/>
          </p:cNvSpPr>
          <p:nvPr>
            <p:ph type="sldNum" sz="quarter" idx="12"/>
          </p:nvPr>
        </p:nvSpPr>
        <p:spPr>
          <a:xfrm>
            <a:off x="11278800" y="6400800"/>
            <a:ext cx="442800" cy="226800"/>
          </a:xfrm>
        </p:spPr>
        <p:txBody>
          <a:bodyPr/>
          <a:lstStyle/>
          <a:p>
            <a:fld id="{7AD0FE45-509C-4BDF-9EDE-64426F8DF3D2}" type="slidenum">
              <a:rPr lang="en-GB" noProof="0" smtClean="0"/>
              <a:t>‹#›</a:t>
            </a:fld>
            <a:endParaRPr lang="en-GB" noProof="0"/>
          </a:p>
        </p:txBody>
      </p:sp>
    </p:spTree>
    <p:extLst>
      <p:ext uri="{BB962C8B-B14F-4D97-AF65-F5344CB8AC3E}">
        <p14:creationId xmlns:p14="http://schemas.microsoft.com/office/powerpoint/2010/main" val="383311194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0_Title Slide">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47D0206B-82CB-E348-8A78-9CA3278CF4AE}"/>
              </a:ext>
            </a:extLst>
          </p:cNvPr>
          <p:cNvGrpSpPr/>
          <p:nvPr userDrawn="1"/>
        </p:nvGrpSpPr>
        <p:grpSpPr>
          <a:xfrm>
            <a:off x="471601" y="443753"/>
            <a:ext cx="1087896" cy="425720"/>
            <a:chOff x="3562350" y="3567113"/>
            <a:chExt cx="3476625" cy="1360487"/>
          </a:xfrm>
          <a:solidFill>
            <a:schemeClr val="accent1"/>
          </a:solidFill>
        </p:grpSpPr>
        <p:sp>
          <p:nvSpPr>
            <p:cNvPr id="10" name="Freeform 1">
              <a:extLst>
                <a:ext uri="{FF2B5EF4-FFF2-40B4-BE49-F238E27FC236}">
                  <a16:creationId xmlns:a16="http://schemas.microsoft.com/office/drawing/2014/main" id="{A91CD9E0-78A1-E844-9E19-A98DCA3FDD23}"/>
                </a:ext>
              </a:extLst>
            </p:cNvPr>
            <p:cNvSpPr>
              <a:spLocks noChangeArrowheads="1"/>
            </p:cNvSpPr>
            <p:nvPr/>
          </p:nvSpPr>
          <p:spPr bwMode="auto">
            <a:xfrm>
              <a:off x="4710113" y="3800475"/>
              <a:ext cx="1136650" cy="1127125"/>
            </a:xfrm>
            <a:custGeom>
              <a:avLst/>
              <a:gdLst>
                <a:gd name="T0" fmla="*/ 10 w 3158"/>
                <a:gd name="T1" fmla="*/ 1539 h 3130"/>
                <a:gd name="T2" fmla="*/ 1599 w 3158"/>
                <a:gd name="T3" fmla="*/ 13 h 3130"/>
                <a:gd name="T4" fmla="*/ 3148 w 3158"/>
                <a:gd name="T5" fmla="*/ 1584 h 3130"/>
                <a:gd name="T6" fmla="*/ 1560 w 3158"/>
                <a:gd name="T7" fmla="*/ 3116 h 3130"/>
                <a:gd name="T8" fmla="*/ 10 w 3158"/>
                <a:gd name="T9" fmla="*/ 1545 h 3130"/>
                <a:gd name="T10" fmla="*/ 10 w 3158"/>
                <a:gd name="T11" fmla="*/ 1539 h 3130"/>
                <a:gd name="T12" fmla="*/ 711 w 3158"/>
                <a:gd name="T13" fmla="*/ 1553 h 3130"/>
                <a:gd name="T14" fmla="*/ 1568 w 3158"/>
                <a:gd name="T15" fmla="*/ 2456 h 3130"/>
                <a:gd name="T16" fmla="*/ 2446 w 3158"/>
                <a:gd name="T17" fmla="*/ 1570 h 3130"/>
                <a:gd name="T18" fmla="*/ 1591 w 3158"/>
                <a:gd name="T19" fmla="*/ 662 h 3130"/>
                <a:gd name="T20" fmla="*/ 712 w 3158"/>
                <a:gd name="T21" fmla="*/ 1548 h 3130"/>
                <a:gd name="T22" fmla="*/ 711 w 3158"/>
                <a:gd name="T23" fmla="*/ 1553 h 3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58" h="3130">
                  <a:moveTo>
                    <a:pt x="10" y="1539"/>
                  </a:moveTo>
                  <a:cubicBezTo>
                    <a:pt x="19" y="790"/>
                    <a:pt x="578" y="0"/>
                    <a:pt x="1599" y="13"/>
                  </a:cubicBezTo>
                  <a:cubicBezTo>
                    <a:pt x="2619" y="26"/>
                    <a:pt x="3157" y="830"/>
                    <a:pt x="3148" y="1584"/>
                  </a:cubicBezTo>
                  <a:cubicBezTo>
                    <a:pt x="3138" y="2341"/>
                    <a:pt x="2579" y="3129"/>
                    <a:pt x="1560" y="3116"/>
                  </a:cubicBezTo>
                  <a:cubicBezTo>
                    <a:pt x="539" y="3104"/>
                    <a:pt x="0" y="2302"/>
                    <a:pt x="10" y="1545"/>
                  </a:cubicBezTo>
                  <a:lnTo>
                    <a:pt x="10" y="1539"/>
                  </a:lnTo>
                  <a:close/>
                  <a:moveTo>
                    <a:pt x="711" y="1553"/>
                  </a:moveTo>
                  <a:cubicBezTo>
                    <a:pt x="705" y="2065"/>
                    <a:pt x="1089" y="2451"/>
                    <a:pt x="1568" y="2456"/>
                  </a:cubicBezTo>
                  <a:cubicBezTo>
                    <a:pt x="2047" y="2462"/>
                    <a:pt x="2440" y="2087"/>
                    <a:pt x="2446" y="1570"/>
                  </a:cubicBezTo>
                  <a:cubicBezTo>
                    <a:pt x="2453" y="1054"/>
                    <a:pt x="2070" y="669"/>
                    <a:pt x="1591" y="662"/>
                  </a:cubicBezTo>
                  <a:cubicBezTo>
                    <a:pt x="1112" y="656"/>
                    <a:pt x="718" y="1032"/>
                    <a:pt x="712" y="1548"/>
                  </a:cubicBezTo>
                  <a:lnTo>
                    <a:pt x="711" y="1553"/>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a:p>
          </p:txBody>
        </p:sp>
        <p:sp>
          <p:nvSpPr>
            <p:cNvPr id="11" name="Freeform 2">
              <a:extLst>
                <a:ext uri="{FF2B5EF4-FFF2-40B4-BE49-F238E27FC236}">
                  <a16:creationId xmlns:a16="http://schemas.microsoft.com/office/drawing/2014/main" id="{60FF600C-3CD7-B443-BBBD-AC259128FF35}"/>
                </a:ext>
              </a:extLst>
            </p:cNvPr>
            <p:cNvSpPr>
              <a:spLocks noChangeArrowheads="1"/>
            </p:cNvSpPr>
            <p:nvPr/>
          </p:nvSpPr>
          <p:spPr bwMode="auto">
            <a:xfrm>
              <a:off x="5969000" y="3567113"/>
              <a:ext cx="455613" cy="1338262"/>
            </a:xfrm>
            <a:custGeom>
              <a:avLst/>
              <a:gdLst>
                <a:gd name="T0" fmla="*/ 971 w 1264"/>
                <a:gd name="T1" fmla="*/ 3165 h 3717"/>
                <a:gd name="T2" fmla="*/ 765 w 1264"/>
                <a:gd name="T3" fmla="*/ 2983 h 3717"/>
                <a:gd name="T4" fmla="*/ 803 w 1264"/>
                <a:gd name="T5" fmla="*/ 9 h 3717"/>
                <a:gd name="T6" fmla="*/ 101 w 1264"/>
                <a:gd name="T7" fmla="*/ 0 h 3717"/>
                <a:gd name="T8" fmla="*/ 64 w 1264"/>
                <a:gd name="T9" fmla="*/ 2965 h 3717"/>
                <a:gd name="T10" fmla="*/ 696 w 1264"/>
                <a:gd name="T11" fmla="*/ 3708 h 3717"/>
                <a:gd name="T12" fmla="*/ 696 w 1264"/>
                <a:gd name="T13" fmla="*/ 3709 h 3717"/>
                <a:gd name="T14" fmla="*/ 1256 w 1264"/>
                <a:gd name="T15" fmla="*/ 3716 h 3717"/>
                <a:gd name="T16" fmla="*/ 1263 w 1264"/>
                <a:gd name="T17" fmla="*/ 3168 h 3717"/>
                <a:gd name="T18" fmla="*/ 971 w 1264"/>
                <a:gd name="T19" fmla="*/ 3165 h 37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64" h="3717">
                  <a:moveTo>
                    <a:pt x="971" y="3165"/>
                  </a:moveTo>
                  <a:cubicBezTo>
                    <a:pt x="971" y="3165"/>
                    <a:pt x="768" y="3164"/>
                    <a:pt x="765" y="2983"/>
                  </a:cubicBezTo>
                  <a:lnTo>
                    <a:pt x="803" y="9"/>
                  </a:lnTo>
                  <a:lnTo>
                    <a:pt x="101" y="0"/>
                  </a:lnTo>
                  <a:lnTo>
                    <a:pt x="64" y="2965"/>
                  </a:lnTo>
                  <a:cubicBezTo>
                    <a:pt x="64" y="2965"/>
                    <a:pt x="0" y="3699"/>
                    <a:pt x="696" y="3708"/>
                  </a:cubicBezTo>
                  <a:lnTo>
                    <a:pt x="696" y="3709"/>
                  </a:lnTo>
                  <a:lnTo>
                    <a:pt x="1256" y="3716"/>
                  </a:lnTo>
                  <a:lnTo>
                    <a:pt x="1263" y="3168"/>
                  </a:lnTo>
                  <a:lnTo>
                    <a:pt x="971" y="316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a:p>
          </p:txBody>
        </p:sp>
        <p:sp>
          <p:nvSpPr>
            <p:cNvPr id="12" name="Freeform 3">
              <a:extLst>
                <a:ext uri="{FF2B5EF4-FFF2-40B4-BE49-F238E27FC236}">
                  <a16:creationId xmlns:a16="http://schemas.microsoft.com/office/drawing/2014/main" id="{B80BA92B-2653-FF4E-ABF3-0C30E823BD23}"/>
                </a:ext>
              </a:extLst>
            </p:cNvPr>
            <p:cNvSpPr>
              <a:spLocks noChangeArrowheads="1"/>
            </p:cNvSpPr>
            <p:nvPr/>
          </p:nvSpPr>
          <p:spPr bwMode="auto">
            <a:xfrm>
              <a:off x="3562350" y="3786188"/>
              <a:ext cx="1069975" cy="1127125"/>
            </a:xfrm>
            <a:custGeom>
              <a:avLst/>
              <a:gdLst>
                <a:gd name="T0" fmla="*/ 2366 w 2971"/>
                <a:gd name="T1" fmla="*/ 1976 h 3132"/>
                <a:gd name="T2" fmla="*/ 1569 w 2971"/>
                <a:gd name="T3" fmla="*/ 2468 h 3132"/>
                <a:gd name="T4" fmla="*/ 716 w 2971"/>
                <a:gd name="T5" fmla="*/ 1556 h 3132"/>
                <a:gd name="T6" fmla="*/ 966 w 2971"/>
                <a:gd name="T7" fmla="*/ 910 h 3132"/>
                <a:gd name="T8" fmla="*/ 1593 w 2971"/>
                <a:gd name="T9" fmla="*/ 667 h 3132"/>
                <a:gd name="T10" fmla="*/ 2376 w 2971"/>
                <a:gd name="T11" fmla="*/ 1201 h 3132"/>
                <a:gd name="T12" fmla="*/ 2970 w 2971"/>
                <a:gd name="T13" fmla="*/ 871 h 3132"/>
                <a:gd name="T14" fmla="*/ 1576 w 2971"/>
                <a:gd name="T15" fmla="*/ 12 h 3132"/>
                <a:gd name="T16" fmla="*/ 11 w 2971"/>
                <a:gd name="T17" fmla="*/ 1545 h 3132"/>
                <a:gd name="T18" fmla="*/ 1559 w 2971"/>
                <a:gd name="T19" fmla="*/ 3123 h 3132"/>
                <a:gd name="T20" fmla="*/ 2950 w 2971"/>
                <a:gd name="T21" fmla="*/ 2314 h 3132"/>
                <a:gd name="T22" fmla="*/ 2379 w 2971"/>
                <a:gd name="T23" fmla="*/ 1977 h 3132"/>
                <a:gd name="T24" fmla="*/ 2366 w 2971"/>
                <a:gd name="T25" fmla="*/ 1976 h 3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71" h="3132">
                  <a:moveTo>
                    <a:pt x="2366" y="1976"/>
                  </a:moveTo>
                  <a:cubicBezTo>
                    <a:pt x="2256" y="2216"/>
                    <a:pt x="2006" y="2472"/>
                    <a:pt x="1569" y="2468"/>
                  </a:cubicBezTo>
                  <a:cubicBezTo>
                    <a:pt x="1072" y="2462"/>
                    <a:pt x="710" y="2081"/>
                    <a:pt x="716" y="1556"/>
                  </a:cubicBezTo>
                  <a:cubicBezTo>
                    <a:pt x="720" y="1300"/>
                    <a:pt x="815" y="1064"/>
                    <a:pt x="966" y="910"/>
                  </a:cubicBezTo>
                  <a:cubicBezTo>
                    <a:pt x="1138" y="742"/>
                    <a:pt x="1337" y="657"/>
                    <a:pt x="1593" y="667"/>
                  </a:cubicBezTo>
                  <a:cubicBezTo>
                    <a:pt x="1976" y="670"/>
                    <a:pt x="2254" y="891"/>
                    <a:pt x="2376" y="1201"/>
                  </a:cubicBezTo>
                  <a:lnTo>
                    <a:pt x="2970" y="871"/>
                  </a:lnTo>
                  <a:cubicBezTo>
                    <a:pt x="2716" y="350"/>
                    <a:pt x="2184" y="19"/>
                    <a:pt x="1576" y="12"/>
                  </a:cubicBezTo>
                  <a:cubicBezTo>
                    <a:pt x="696" y="0"/>
                    <a:pt x="22" y="683"/>
                    <a:pt x="11" y="1545"/>
                  </a:cubicBezTo>
                  <a:cubicBezTo>
                    <a:pt x="0" y="2384"/>
                    <a:pt x="634" y="3111"/>
                    <a:pt x="1559" y="3123"/>
                  </a:cubicBezTo>
                  <a:cubicBezTo>
                    <a:pt x="2184" y="3131"/>
                    <a:pt x="2691" y="2793"/>
                    <a:pt x="2950" y="2314"/>
                  </a:cubicBezTo>
                  <a:lnTo>
                    <a:pt x="2379" y="1977"/>
                  </a:lnTo>
                  <a:lnTo>
                    <a:pt x="2366" y="197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a:p>
          </p:txBody>
        </p:sp>
        <p:sp>
          <p:nvSpPr>
            <p:cNvPr id="13" name="Freeform 4">
              <a:extLst>
                <a:ext uri="{FF2B5EF4-FFF2-40B4-BE49-F238E27FC236}">
                  <a16:creationId xmlns:a16="http://schemas.microsoft.com/office/drawing/2014/main" id="{66CC0EB8-DD1B-0940-94D2-A50C3B189C76}"/>
                </a:ext>
              </a:extLst>
            </p:cNvPr>
            <p:cNvSpPr>
              <a:spLocks noChangeArrowheads="1"/>
            </p:cNvSpPr>
            <p:nvPr/>
          </p:nvSpPr>
          <p:spPr bwMode="auto">
            <a:xfrm>
              <a:off x="6546850" y="3575050"/>
              <a:ext cx="492125" cy="1338263"/>
            </a:xfrm>
            <a:custGeom>
              <a:avLst/>
              <a:gdLst>
                <a:gd name="T0" fmla="*/ 960 w 1365"/>
                <a:gd name="T1" fmla="*/ 3164 h 3718"/>
                <a:gd name="T2" fmla="*/ 753 w 1365"/>
                <a:gd name="T3" fmla="*/ 2983 h 3718"/>
                <a:gd name="T4" fmla="*/ 773 w 1365"/>
                <a:gd name="T5" fmla="*/ 1401 h 3718"/>
                <a:gd name="T6" fmla="*/ 1336 w 1365"/>
                <a:gd name="T7" fmla="*/ 1408 h 3718"/>
                <a:gd name="T8" fmla="*/ 1343 w 1365"/>
                <a:gd name="T9" fmla="*/ 860 h 3718"/>
                <a:gd name="T10" fmla="*/ 780 w 1365"/>
                <a:gd name="T11" fmla="*/ 853 h 3718"/>
                <a:gd name="T12" fmla="*/ 791 w 1365"/>
                <a:gd name="T13" fmla="*/ 9 h 3718"/>
                <a:gd name="T14" fmla="*/ 89 w 1365"/>
                <a:gd name="T15" fmla="*/ 0 h 3718"/>
                <a:gd name="T16" fmla="*/ 51 w 1365"/>
                <a:gd name="T17" fmla="*/ 2965 h 3718"/>
                <a:gd name="T18" fmla="*/ 683 w 1365"/>
                <a:gd name="T19" fmla="*/ 3708 h 3718"/>
                <a:gd name="T20" fmla="*/ 684 w 1365"/>
                <a:gd name="T21" fmla="*/ 3708 h 3718"/>
                <a:gd name="T22" fmla="*/ 1357 w 1365"/>
                <a:gd name="T23" fmla="*/ 3717 h 3718"/>
                <a:gd name="T24" fmla="*/ 1364 w 1365"/>
                <a:gd name="T25" fmla="*/ 3169 h 3718"/>
                <a:gd name="T26" fmla="*/ 960 w 1365"/>
                <a:gd name="T27" fmla="*/ 3164 h 3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65" h="3718">
                  <a:moveTo>
                    <a:pt x="960" y="3164"/>
                  </a:moveTo>
                  <a:cubicBezTo>
                    <a:pt x="960" y="3164"/>
                    <a:pt x="756" y="3164"/>
                    <a:pt x="753" y="2983"/>
                  </a:cubicBezTo>
                  <a:lnTo>
                    <a:pt x="773" y="1401"/>
                  </a:lnTo>
                  <a:lnTo>
                    <a:pt x="1336" y="1408"/>
                  </a:lnTo>
                  <a:lnTo>
                    <a:pt x="1343" y="860"/>
                  </a:lnTo>
                  <a:lnTo>
                    <a:pt x="780" y="853"/>
                  </a:lnTo>
                  <a:lnTo>
                    <a:pt x="791" y="9"/>
                  </a:lnTo>
                  <a:lnTo>
                    <a:pt x="89" y="0"/>
                  </a:lnTo>
                  <a:lnTo>
                    <a:pt x="51" y="2965"/>
                  </a:lnTo>
                  <a:cubicBezTo>
                    <a:pt x="51" y="2965"/>
                    <a:pt x="0" y="3701"/>
                    <a:pt x="683" y="3708"/>
                  </a:cubicBezTo>
                  <a:lnTo>
                    <a:pt x="684" y="3708"/>
                  </a:lnTo>
                  <a:lnTo>
                    <a:pt x="1357" y="3717"/>
                  </a:lnTo>
                  <a:lnTo>
                    <a:pt x="1364" y="3169"/>
                  </a:lnTo>
                  <a:lnTo>
                    <a:pt x="960" y="316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a:p>
          </p:txBody>
        </p:sp>
      </p:grpSp>
      <p:grpSp>
        <p:nvGrpSpPr>
          <p:cNvPr id="5" name="Group 4">
            <a:extLst>
              <a:ext uri="{FF2B5EF4-FFF2-40B4-BE49-F238E27FC236}">
                <a16:creationId xmlns:a16="http://schemas.microsoft.com/office/drawing/2014/main" id="{855157AF-F609-EB4F-AB05-03C460060183}"/>
              </a:ext>
            </a:extLst>
          </p:cNvPr>
          <p:cNvGrpSpPr/>
          <p:nvPr userDrawn="1"/>
        </p:nvGrpSpPr>
        <p:grpSpPr>
          <a:xfrm>
            <a:off x="3431704" y="-675456"/>
            <a:ext cx="13646042" cy="10112770"/>
            <a:chOff x="3824562" y="-176569"/>
            <a:chExt cx="12389850" cy="9181835"/>
          </a:xfrm>
        </p:grpSpPr>
        <p:grpSp>
          <p:nvGrpSpPr>
            <p:cNvPr id="37" name="Group 36">
              <a:extLst>
                <a:ext uri="{FF2B5EF4-FFF2-40B4-BE49-F238E27FC236}">
                  <a16:creationId xmlns:a16="http://schemas.microsoft.com/office/drawing/2014/main" id="{9C56989F-3F8C-CC4E-B538-7167AC5CF779}"/>
                </a:ext>
              </a:extLst>
            </p:cNvPr>
            <p:cNvGrpSpPr/>
            <p:nvPr userDrawn="1"/>
          </p:nvGrpSpPr>
          <p:grpSpPr>
            <a:xfrm>
              <a:off x="4223792" y="1193801"/>
              <a:ext cx="9607344" cy="6420050"/>
              <a:chOff x="4712139" y="1274117"/>
              <a:chExt cx="9607344" cy="6420050"/>
            </a:xfrm>
          </p:grpSpPr>
          <p:sp>
            <p:nvSpPr>
              <p:cNvPr id="42" name="Oval 41">
                <a:extLst>
                  <a:ext uri="{FF2B5EF4-FFF2-40B4-BE49-F238E27FC236}">
                    <a16:creationId xmlns:a16="http://schemas.microsoft.com/office/drawing/2014/main" id="{262634B2-CB62-A048-9824-A4BD14E7653D}"/>
                  </a:ext>
                </a:extLst>
              </p:cNvPr>
              <p:cNvSpPr/>
              <p:nvPr/>
            </p:nvSpPr>
            <p:spPr>
              <a:xfrm>
                <a:off x="7228573" y="1274117"/>
                <a:ext cx="6420050" cy="6420050"/>
              </a:xfrm>
              <a:prstGeom prst="ellipse">
                <a:avLst/>
              </a:prstGeom>
              <a:gradFill>
                <a:gsLst>
                  <a:gs pos="21000">
                    <a:schemeClr val="accent3"/>
                  </a:gs>
                  <a:gs pos="96000">
                    <a:schemeClr val="accent3">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43" name="Picture 42">
                <a:extLst>
                  <a:ext uri="{FF2B5EF4-FFF2-40B4-BE49-F238E27FC236}">
                    <a16:creationId xmlns:a16="http://schemas.microsoft.com/office/drawing/2014/main" id="{5DD65EAF-E52F-3B41-9BB8-4FAF2B61FE9B}"/>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4712139" y="1472666"/>
                <a:ext cx="9607344" cy="5414208"/>
              </a:xfrm>
              <a:prstGeom prst="rect">
                <a:avLst/>
              </a:prstGeom>
            </p:spPr>
          </p:pic>
        </p:grpSp>
        <p:grpSp>
          <p:nvGrpSpPr>
            <p:cNvPr id="49" name="Group 48">
              <a:extLst>
                <a:ext uri="{FF2B5EF4-FFF2-40B4-BE49-F238E27FC236}">
                  <a16:creationId xmlns:a16="http://schemas.microsoft.com/office/drawing/2014/main" id="{F031CA6A-95C7-8D4E-AC27-03EDDB1E1283}"/>
                </a:ext>
              </a:extLst>
            </p:cNvPr>
            <p:cNvGrpSpPr/>
            <p:nvPr userDrawn="1"/>
          </p:nvGrpSpPr>
          <p:grpSpPr>
            <a:xfrm>
              <a:off x="3824562" y="-176569"/>
              <a:ext cx="12389850" cy="8313164"/>
              <a:chOff x="4312909" y="-96253"/>
              <a:chExt cx="12389850" cy="8313164"/>
            </a:xfrm>
          </p:grpSpPr>
          <p:sp>
            <p:nvSpPr>
              <p:cNvPr id="50" name="Rectangle: Rounded Corners 48">
                <a:extLst>
                  <a:ext uri="{FF2B5EF4-FFF2-40B4-BE49-F238E27FC236}">
                    <a16:creationId xmlns:a16="http://schemas.microsoft.com/office/drawing/2014/main" id="{63F2622A-1BC6-8645-8522-A096536BDCEB}"/>
                  </a:ext>
                </a:extLst>
              </p:cNvPr>
              <p:cNvSpPr/>
              <p:nvPr/>
            </p:nvSpPr>
            <p:spPr>
              <a:xfrm rot="3600000">
                <a:off x="11193972" y="324977"/>
                <a:ext cx="1065396" cy="3851430"/>
              </a:xfrm>
              <a:prstGeom prst="roundRect">
                <a:avLst>
                  <a:gd name="adj" fmla="val 50000"/>
                </a:avLst>
              </a:prstGeom>
              <a:gradFill>
                <a:gsLst>
                  <a:gs pos="90000">
                    <a:schemeClr val="accent6">
                      <a:alpha val="0"/>
                    </a:schemeClr>
                  </a:gs>
                  <a:gs pos="63000">
                    <a:schemeClr val="accent6"/>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1" name="Rectangle: Rounded Corners 49">
                <a:extLst>
                  <a:ext uri="{FF2B5EF4-FFF2-40B4-BE49-F238E27FC236}">
                    <a16:creationId xmlns:a16="http://schemas.microsoft.com/office/drawing/2014/main" id="{D527D29B-39E0-4F4D-B6A8-3DF861B7F898}"/>
                  </a:ext>
                </a:extLst>
              </p:cNvPr>
              <p:cNvSpPr/>
              <p:nvPr/>
            </p:nvSpPr>
            <p:spPr>
              <a:xfrm rot="3600000">
                <a:off x="10839739" y="1407468"/>
                <a:ext cx="1375589" cy="4576547"/>
              </a:xfrm>
              <a:prstGeom prst="roundRect">
                <a:avLst>
                  <a:gd name="adj" fmla="val 50000"/>
                </a:avLst>
              </a:prstGeom>
              <a:gradFill>
                <a:gsLst>
                  <a:gs pos="86000">
                    <a:schemeClr val="accent6">
                      <a:alpha val="0"/>
                    </a:schemeClr>
                  </a:gs>
                  <a:gs pos="60000">
                    <a:schemeClr val="accent6"/>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52" name="Group 51">
                <a:extLst>
                  <a:ext uri="{FF2B5EF4-FFF2-40B4-BE49-F238E27FC236}">
                    <a16:creationId xmlns:a16="http://schemas.microsoft.com/office/drawing/2014/main" id="{556FD11D-D82E-1645-8914-7380284249B2}"/>
                  </a:ext>
                </a:extLst>
              </p:cNvPr>
              <p:cNvGrpSpPr/>
              <p:nvPr/>
            </p:nvGrpSpPr>
            <p:grpSpPr>
              <a:xfrm>
                <a:off x="4312909" y="-96253"/>
                <a:ext cx="12389850" cy="8313164"/>
                <a:chOff x="4312909" y="-96253"/>
                <a:chExt cx="12389850" cy="8313164"/>
              </a:xfrm>
            </p:grpSpPr>
            <p:sp>
              <p:nvSpPr>
                <p:cNvPr id="53" name="Oval 52">
                  <a:extLst>
                    <a:ext uri="{FF2B5EF4-FFF2-40B4-BE49-F238E27FC236}">
                      <a16:creationId xmlns:a16="http://schemas.microsoft.com/office/drawing/2014/main" id="{EC50F5C2-B165-8A49-806E-31FA22331448}"/>
                    </a:ext>
                  </a:extLst>
                </p:cNvPr>
                <p:cNvSpPr/>
                <p:nvPr/>
              </p:nvSpPr>
              <p:spPr>
                <a:xfrm>
                  <a:off x="8289748" y="4690786"/>
                  <a:ext cx="3526125" cy="3526125"/>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54" name="Group 53">
                  <a:extLst>
                    <a:ext uri="{FF2B5EF4-FFF2-40B4-BE49-F238E27FC236}">
                      <a16:creationId xmlns:a16="http://schemas.microsoft.com/office/drawing/2014/main" id="{64CABB56-B176-C04B-A7D6-1595733C084F}"/>
                    </a:ext>
                  </a:extLst>
                </p:cNvPr>
                <p:cNvGrpSpPr/>
                <p:nvPr/>
              </p:nvGrpSpPr>
              <p:grpSpPr>
                <a:xfrm>
                  <a:off x="4312909" y="-96253"/>
                  <a:ext cx="12389850" cy="6982288"/>
                  <a:chOff x="4312909" y="-96253"/>
                  <a:chExt cx="12389850" cy="6982288"/>
                </a:xfrm>
              </p:grpSpPr>
              <p:sp>
                <p:nvSpPr>
                  <p:cNvPr id="55" name="Oval 54">
                    <a:extLst>
                      <a:ext uri="{FF2B5EF4-FFF2-40B4-BE49-F238E27FC236}">
                        <a16:creationId xmlns:a16="http://schemas.microsoft.com/office/drawing/2014/main" id="{95B7BDD9-DE47-9E42-88CF-7C9230D42EA6}"/>
                      </a:ext>
                    </a:extLst>
                  </p:cNvPr>
                  <p:cNvSpPr/>
                  <p:nvPr/>
                </p:nvSpPr>
                <p:spPr>
                  <a:xfrm rot="20457214">
                    <a:off x="10364320" y="2404428"/>
                    <a:ext cx="3001311" cy="795104"/>
                  </a:xfrm>
                  <a:prstGeom prst="ellipse">
                    <a:avLst/>
                  </a:prstGeom>
                  <a:solidFill>
                    <a:schemeClr val="tx1">
                      <a:alpha val="85000"/>
                    </a:schemeClr>
                  </a:solidFill>
                  <a:ln>
                    <a:noFill/>
                  </a:ln>
                  <a:effectLst>
                    <a:softEdge rad="254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56" name="Picture 55">
                    <a:extLst>
                      <a:ext uri="{FF2B5EF4-FFF2-40B4-BE49-F238E27FC236}">
                        <a16:creationId xmlns:a16="http://schemas.microsoft.com/office/drawing/2014/main" id="{A31776D1-CBF2-B64E-A331-07CF197C65AB}"/>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4312909" y="-96253"/>
                    <a:ext cx="12389850" cy="6982288"/>
                  </a:xfrm>
                  <a:prstGeom prst="rect">
                    <a:avLst/>
                  </a:prstGeom>
                </p:spPr>
              </p:pic>
              <p:sp>
                <p:nvSpPr>
                  <p:cNvPr id="57" name="Rectangle: Rounded Corners 51">
                    <a:extLst>
                      <a:ext uri="{FF2B5EF4-FFF2-40B4-BE49-F238E27FC236}">
                        <a16:creationId xmlns:a16="http://schemas.microsoft.com/office/drawing/2014/main" id="{A05832F1-14C2-284B-BEA8-A16B5A522760}"/>
                      </a:ext>
                    </a:extLst>
                  </p:cNvPr>
                  <p:cNvSpPr/>
                  <p:nvPr/>
                </p:nvSpPr>
                <p:spPr>
                  <a:xfrm rot="3600000">
                    <a:off x="11273012" y="1859908"/>
                    <a:ext cx="1375589" cy="3180010"/>
                  </a:xfrm>
                  <a:prstGeom prst="roundRect">
                    <a:avLst>
                      <a:gd name="adj" fmla="val 50000"/>
                    </a:avLst>
                  </a:prstGeom>
                  <a:gradFill>
                    <a:gsLst>
                      <a:gs pos="86000">
                        <a:schemeClr val="accent6">
                          <a:alpha val="0"/>
                        </a:schemeClr>
                      </a:gs>
                      <a:gs pos="53000">
                        <a:schemeClr val="accent6"/>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grpSp>
        <p:grpSp>
          <p:nvGrpSpPr>
            <p:cNvPr id="58" name="Group 57">
              <a:extLst>
                <a:ext uri="{FF2B5EF4-FFF2-40B4-BE49-F238E27FC236}">
                  <a16:creationId xmlns:a16="http://schemas.microsoft.com/office/drawing/2014/main" id="{A8A952D6-F05E-804D-BB6B-499F65FD80DD}"/>
                </a:ext>
              </a:extLst>
            </p:cNvPr>
            <p:cNvGrpSpPr/>
            <p:nvPr userDrawn="1"/>
          </p:nvGrpSpPr>
          <p:grpSpPr>
            <a:xfrm>
              <a:off x="5546693" y="1357430"/>
              <a:ext cx="7709697" cy="7647836"/>
              <a:chOff x="6035040" y="1437746"/>
              <a:chExt cx="7709697" cy="7647836"/>
            </a:xfrm>
          </p:grpSpPr>
          <p:sp>
            <p:nvSpPr>
              <p:cNvPr id="59" name="Oval 58">
                <a:extLst>
                  <a:ext uri="{FF2B5EF4-FFF2-40B4-BE49-F238E27FC236}">
                    <a16:creationId xmlns:a16="http://schemas.microsoft.com/office/drawing/2014/main" id="{48B846B1-45A7-BB44-B373-C1D73B9C6080}"/>
                  </a:ext>
                </a:extLst>
              </p:cNvPr>
              <p:cNvSpPr/>
              <p:nvPr/>
            </p:nvSpPr>
            <p:spPr>
              <a:xfrm>
                <a:off x="8479857" y="1437746"/>
                <a:ext cx="211756" cy="211756"/>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0" name="Oval 59">
                <a:extLst>
                  <a:ext uri="{FF2B5EF4-FFF2-40B4-BE49-F238E27FC236}">
                    <a16:creationId xmlns:a16="http://schemas.microsoft.com/office/drawing/2014/main" id="{A984FE23-91E5-734A-A318-22E2B022FBD9}"/>
                  </a:ext>
                </a:extLst>
              </p:cNvPr>
              <p:cNvSpPr/>
              <p:nvPr/>
            </p:nvSpPr>
            <p:spPr>
              <a:xfrm>
                <a:off x="11146056" y="2169266"/>
                <a:ext cx="323678" cy="323678"/>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1" name="Oval 60">
                <a:extLst>
                  <a:ext uri="{FF2B5EF4-FFF2-40B4-BE49-F238E27FC236}">
                    <a16:creationId xmlns:a16="http://schemas.microsoft.com/office/drawing/2014/main" id="{50856EE4-B322-4A41-AB6F-085C7C87514F}"/>
                  </a:ext>
                </a:extLst>
              </p:cNvPr>
              <p:cNvSpPr/>
              <p:nvPr/>
            </p:nvSpPr>
            <p:spPr>
              <a:xfrm>
                <a:off x="10436060" y="5270763"/>
                <a:ext cx="2433904" cy="2433904"/>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2" name="Oval 61">
                <a:extLst>
                  <a:ext uri="{FF2B5EF4-FFF2-40B4-BE49-F238E27FC236}">
                    <a16:creationId xmlns:a16="http://schemas.microsoft.com/office/drawing/2014/main" id="{0E704362-F1E7-3E4C-A3E3-AA5C2A6BE626}"/>
                  </a:ext>
                </a:extLst>
              </p:cNvPr>
              <p:cNvSpPr/>
              <p:nvPr/>
            </p:nvSpPr>
            <p:spPr>
              <a:xfrm>
                <a:off x="6035040" y="5855443"/>
                <a:ext cx="3230139" cy="3230139"/>
              </a:xfrm>
              <a:prstGeom prst="ellipse">
                <a:avLst/>
              </a:prstGeom>
              <a:gradFill>
                <a:gsLst>
                  <a:gs pos="44000">
                    <a:schemeClr val="accent1">
                      <a:alpha val="0"/>
                    </a:schemeClr>
                  </a:gs>
                  <a:gs pos="24000">
                    <a:schemeClr val="accent1"/>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Oval 62">
                <a:extLst>
                  <a:ext uri="{FF2B5EF4-FFF2-40B4-BE49-F238E27FC236}">
                    <a16:creationId xmlns:a16="http://schemas.microsoft.com/office/drawing/2014/main" id="{424F3BEB-1081-614E-A670-0969450A4AE0}"/>
                  </a:ext>
                </a:extLst>
              </p:cNvPr>
              <p:cNvSpPr/>
              <p:nvPr/>
            </p:nvSpPr>
            <p:spPr>
              <a:xfrm>
                <a:off x="7008530" y="6157868"/>
                <a:ext cx="174590" cy="17459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4" name="Rectangle: Rounded Corners 55">
                <a:extLst>
                  <a:ext uri="{FF2B5EF4-FFF2-40B4-BE49-F238E27FC236}">
                    <a16:creationId xmlns:a16="http://schemas.microsoft.com/office/drawing/2014/main" id="{E1E8F01D-5715-F24B-9755-73983E611628}"/>
                  </a:ext>
                </a:extLst>
              </p:cNvPr>
              <p:cNvSpPr/>
              <p:nvPr/>
            </p:nvSpPr>
            <p:spPr>
              <a:xfrm rot="3600000">
                <a:off x="10872607" y="3002077"/>
                <a:ext cx="1375589" cy="4368671"/>
              </a:xfrm>
              <a:prstGeom prst="roundRect">
                <a:avLst>
                  <a:gd name="adj" fmla="val 50000"/>
                </a:avLst>
              </a:prstGeom>
              <a:gradFill>
                <a:gsLst>
                  <a:gs pos="86000">
                    <a:schemeClr val="accent1">
                      <a:alpha val="0"/>
                    </a:schemeClr>
                  </a:gs>
                  <a:gs pos="53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5" name="Rectangle: Rounded Corners 56">
                <a:extLst>
                  <a:ext uri="{FF2B5EF4-FFF2-40B4-BE49-F238E27FC236}">
                    <a16:creationId xmlns:a16="http://schemas.microsoft.com/office/drawing/2014/main" id="{026F7D5B-3229-6244-8D72-F2A577A62FEB}"/>
                  </a:ext>
                </a:extLst>
              </p:cNvPr>
              <p:cNvSpPr/>
              <p:nvPr/>
            </p:nvSpPr>
            <p:spPr>
              <a:xfrm rot="3600000">
                <a:off x="10290256" y="3611341"/>
                <a:ext cx="937075" cy="5671409"/>
              </a:xfrm>
              <a:prstGeom prst="roundRect">
                <a:avLst>
                  <a:gd name="adj" fmla="val 50000"/>
                </a:avLst>
              </a:prstGeom>
              <a:gradFill>
                <a:gsLst>
                  <a:gs pos="86000">
                    <a:schemeClr val="accent1">
                      <a:alpha val="0"/>
                    </a:schemeClr>
                  </a:gs>
                  <a:gs pos="47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6" name="Oval 65">
                <a:extLst>
                  <a:ext uri="{FF2B5EF4-FFF2-40B4-BE49-F238E27FC236}">
                    <a16:creationId xmlns:a16="http://schemas.microsoft.com/office/drawing/2014/main" id="{63B490E5-1C64-B848-A5EF-488CE3D481F3}"/>
                  </a:ext>
                </a:extLst>
              </p:cNvPr>
              <p:cNvSpPr/>
              <p:nvPr/>
            </p:nvSpPr>
            <p:spPr>
              <a:xfrm>
                <a:off x="9344491" y="5347594"/>
                <a:ext cx="2940642" cy="2940642"/>
              </a:xfrm>
              <a:prstGeom prst="ellipse">
                <a:avLst/>
              </a:prstGeom>
              <a:solidFill>
                <a:schemeClr val="accent1">
                  <a:alpha val="94000"/>
                </a:schemeClr>
              </a:solidFill>
              <a:ln>
                <a:noFill/>
              </a:ln>
              <a:effectLst>
                <a:softEdge rad="6223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7" name="Rectangle: Rounded Corners 57">
                <a:extLst>
                  <a:ext uri="{FF2B5EF4-FFF2-40B4-BE49-F238E27FC236}">
                    <a16:creationId xmlns:a16="http://schemas.microsoft.com/office/drawing/2014/main" id="{ED3B0C64-0B38-354D-A686-23F0346817FE}"/>
                  </a:ext>
                </a:extLst>
              </p:cNvPr>
              <p:cNvSpPr/>
              <p:nvPr/>
            </p:nvSpPr>
            <p:spPr>
              <a:xfrm rot="3600000">
                <a:off x="11092895" y="3678216"/>
                <a:ext cx="937075" cy="3270305"/>
              </a:xfrm>
              <a:prstGeom prst="roundRect">
                <a:avLst>
                  <a:gd name="adj" fmla="val 50000"/>
                </a:avLst>
              </a:prstGeom>
              <a:gradFill>
                <a:gsLst>
                  <a:gs pos="86000">
                    <a:schemeClr val="accent3">
                      <a:alpha val="0"/>
                    </a:schemeClr>
                  </a:gs>
                  <a:gs pos="47000">
                    <a:schemeClr val="accent3"/>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grpSp>
      <p:sp>
        <p:nvSpPr>
          <p:cNvPr id="74" name="Oval 73">
            <a:extLst>
              <a:ext uri="{FF2B5EF4-FFF2-40B4-BE49-F238E27FC236}">
                <a16:creationId xmlns:a16="http://schemas.microsoft.com/office/drawing/2014/main" id="{44A2DA06-7EC6-0940-9BB2-8B08BB1CC316}"/>
              </a:ext>
            </a:extLst>
          </p:cNvPr>
          <p:cNvSpPr/>
          <p:nvPr userDrawn="1"/>
        </p:nvSpPr>
        <p:spPr>
          <a:xfrm>
            <a:off x="-2020767" y="2129544"/>
            <a:ext cx="2680675" cy="2680675"/>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4" name="Title 1">
            <a:extLst>
              <a:ext uri="{FF2B5EF4-FFF2-40B4-BE49-F238E27FC236}">
                <a16:creationId xmlns:a16="http://schemas.microsoft.com/office/drawing/2014/main" id="{8A04CAAD-3AD5-514F-A339-544501F9C5B4}"/>
              </a:ext>
            </a:extLst>
          </p:cNvPr>
          <p:cNvSpPr>
            <a:spLocks noGrp="1"/>
          </p:cNvSpPr>
          <p:nvPr>
            <p:ph type="ctrTitle" hasCustomPrompt="1"/>
          </p:nvPr>
        </p:nvSpPr>
        <p:spPr>
          <a:xfrm>
            <a:off x="1343025" y="2286000"/>
            <a:ext cx="5616575" cy="1884008"/>
          </a:xfrm>
        </p:spPr>
        <p:txBody>
          <a:bodyPr>
            <a:normAutofit/>
          </a:bodyPr>
          <a:lstStyle>
            <a:lvl1pPr marL="0" indent="0" algn="l">
              <a:lnSpc>
                <a:spcPct val="100000"/>
              </a:lnSpc>
              <a:buFont typeface="Arial" panose="020B0604020202020204" pitchFamily="34" charset="0"/>
              <a:buNone/>
              <a:defRPr sz="5400" b="1" i="0" baseline="0">
                <a:solidFill>
                  <a:schemeClr val="accent1"/>
                </a:solidFill>
              </a:defRPr>
            </a:lvl1pPr>
          </a:lstStyle>
          <a:p>
            <a:r>
              <a:rPr lang="en-GB" dirty="0"/>
              <a:t>Title Slide</a:t>
            </a:r>
            <a:endParaRPr lang="en-GB" noProof="0" dirty="0"/>
          </a:p>
        </p:txBody>
      </p:sp>
      <p:sp>
        <p:nvSpPr>
          <p:cNvPr id="35" name="Subtitle 2">
            <a:extLst>
              <a:ext uri="{FF2B5EF4-FFF2-40B4-BE49-F238E27FC236}">
                <a16:creationId xmlns:a16="http://schemas.microsoft.com/office/drawing/2014/main" id="{1D5FAD6E-69EA-D941-8246-C93684A4B896}"/>
              </a:ext>
            </a:extLst>
          </p:cNvPr>
          <p:cNvSpPr>
            <a:spLocks noGrp="1"/>
          </p:cNvSpPr>
          <p:nvPr>
            <p:ph type="subTitle" idx="1"/>
          </p:nvPr>
        </p:nvSpPr>
        <p:spPr>
          <a:xfrm>
            <a:off x="1343025" y="4170008"/>
            <a:ext cx="5597668" cy="1154381"/>
          </a:xfrm>
        </p:spPr>
        <p:txBody>
          <a:bodyPr>
            <a:normAutofit/>
          </a:bodyPr>
          <a:lstStyle>
            <a:lvl1pPr marL="0" indent="0" algn="l">
              <a:lnSpc>
                <a:spcPct val="100000"/>
              </a:lnSpc>
              <a:spcAft>
                <a:spcPts val="0"/>
              </a:spcAft>
              <a:buFont typeface="Arial" panose="020B0604020202020204" pitchFamily="34" charset="0"/>
              <a:buNone/>
              <a:defRPr sz="2800">
                <a:solidFill>
                  <a:schemeClr val="accent4"/>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Click to edit Master subtitle style</a:t>
            </a:r>
            <a:endParaRPr lang="en-GB" noProof="0" dirty="0"/>
          </a:p>
        </p:txBody>
      </p:sp>
      <p:sp>
        <p:nvSpPr>
          <p:cNvPr id="36" name="Date Placeholder 3">
            <a:extLst>
              <a:ext uri="{FF2B5EF4-FFF2-40B4-BE49-F238E27FC236}">
                <a16:creationId xmlns:a16="http://schemas.microsoft.com/office/drawing/2014/main" id="{903C090C-C70F-F745-878D-8236E0650EEB}"/>
              </a:ext>
            </a:extLst>
          </p:cNvPr>
          <p:cNvSpPr>
            <a:spLocks noGrp="1"/>
          </p:cNvSpPr>
          <p:nvPr>
            <p:ph type="dt" sz="half" idx="10"/>
          </p:nvPr>
        </p:nvSpPr>
        <p:spPr>
          <a:xfrm>
            <a:off x="1343025" y="5324388"/>
            <a:ext cx="3776460" cy="339811"/>
          </a:xfrm>
          <a:prstGeom prst="rect">
            <a:avLst/>
          </a:prstGeom>
        </p:spPr>
        <p:txBody>
          <a:bodyPr lIns="0" anchor="t" anchorCtr="0"/>
          <a:lstStyle>
            <a:lvl1pPr>
              <a:lnSpc>
                <a:spcPts val="1590"/>
              </a:lnSpc>
              <a:defRPr sz="1410" b="1">
                <a:solidFill>
                  <a:schemeClr val="accent6"/>
                </a:solidFill>
              </a:defRPr>
            </a:lvl1pPr>
          </a:lstStyle>
          <a:p>
            <a:r>
              <a:rPr lang="en-GB" dirty="0"/>
              <a:t>Date</a:t>
            </a:r>
          </a:p>
        </p:txBody>
      </p:sp>
    </p:spTree>
    <p:extLst>
      <p:ext uri="{BB962C8B-B14F-4D97-AF65-F5344CB8AC3E}">
        <p14:creationId xmlns:p14="http://schemas.microsoft.com/office/powerpoint/2010/main" val="3379484484"/>
      </p:ext>
    </p:extLst>
  </p:cSld>
  <p:clrMapOvr>
    <a:masterClrMapping/>
  </p:clrMapOvr>
  <p:extLst>
    <p:ext uri="{DCECCB84-F9BA-43D5-87BE-67443E8EF086}">
      <p15:sldGuideLst xmlns:p15="http://schemas.microsoft.com/office/powerpoint/2012/main">
        <p15:guide id="1" orient="horz" pos="3703">
          <p15:clr>
            <a:srgbClr val="FBAE40"/>
          </p15:clr>
        </p15:guide>
        <p15:guide id="2" pos="4384">
          <p15:clr>
            <a:srgbClr val="FBAE40"/>
          </p15:clr>
        </p15:guide>
        <p15:guide id="3" pos="846">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INTRODUCTION: 4 PEOPLE">
    <p:spTree>
      <p:nvGrpSpPr>
        <p:cNvPr id="1" name=""/>
        <p:cNvGrpSpPr/>
        <p:nvPr/>
      </p:nvGrpSpPr>
      <p:grpSpPr>
        <a:xfrm>
          <a:off x="0" y="0"/>
          <a:ext cx="0" cy="0"/>
          <a:chOff x="0" y="0"/>
          <a:chExt cx="0" cy="0"/>
        </a:xfrm>
      </p:grpSpPr>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en-GB" noProof="0" smtClean="0"/>
              <a:t>‹#›</a:t>
            </a:fld>
            <a:endParaRPr lang="en-GB" noProof="0"/>
          </a:p>
        </p:txBody>
      </p:sp>
      <p:sp>
        <p:nvSpPr>
          <p:cNvPr id="19" name="Tijdelijke aanduiding voor afbeelding 12">
            <a:extLst>
              <a:ext uri="{FF2B5EF4-FFF2-40B4-BE49-F238E27FC236}">
                <a16:creationId xmlns:a16="http://schemas.microsoft.com/office/drawing/2014/main" id="{27BACDE8-BA7B-4623-B097-3849D34912CC}"/>
              </a:ext>
            </a:extLst>
          </p:cNvPr>
          <p:cNvSpPr>
            <a:spLocks noGrp="1"/>
          </p:cNvSpPr>
          <p:nvPr>
            <p:ph type="pic" sz="quarter" idx="14" hasCustomPrompt="1"/>
          </p:nvPr>
        </p:nvSpPr>
        <p:spPr>
          <a:xfrm>
            <a:off x="777152" y="1453020"/>
            <a:ext cx="2276499" cy="2502754"/>
          </a:xfrm>
          <a:solidFill>
            <a:schemeClr val="bg1">
              <a:lumMod val="95000"/>
            </a:schemeClr>
          </a:solidFill>
        </p:spPr>
        <p:txBody>
          <a:bodyPr tIns="1368000"/>
          <a:lstStyle>
            <a:lvl1pPr marL="0" indent="0" algn="ctr">
              <a:buNone/>
              <a:defRPr sz="1050" b="1" baseline="0"/>
            </a:lvl1pPr>
          </a:lstStyle>
          <a:p>
            <a:r>
              <a:rPr kumimoji="0" lang="en-GB" sz="1100" b="0" i="0" u="none" strike="noStrike" kern="0" cap="none" spc="0" normalizeH="0" baseline="0" noProof="0">
                <a:ln>
                  <a:noFill/>
                </a:ln>
                <a:solidFill>
                  <a:srgbClr val="000000"/>
                </a:solidFill>
                <a:effectLst/>
                <a:uLnTx/>
                <a:uFillTx/>
                <a:latin typeface="+mn-lt"/>
                <a:cs typeface="Segoe UI Light" panose="020B0502040204020203" pitchFamily="34" charset="0"/>
              </a:rPr>
              <a:t>Click on the pictogram to </a:t>
            </a:r>
            <a:br>
              <a:rPr kumimoji="0" lang="en-GB"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GB" sz="1100" b="0" i="0" u="none" strike="noStrike" kern="0" cap="none" spc="0" normalizeH="0" baseline="0" noProof="0">
                <a:ln>
                  <a:noFill/>
                </a:ln>
                <a:solidFill>
                  <a:srgbClr val="000000"/>
                </a:solidFill>
                <a:effectLst/>
                <a:uLnTx/>
                <a:uFillTx/>
                <a:latin typeface="+mn-lt"/>
                <a:cs typeface="Segoe UI Light" panose="020B0502040204020203" pitchFamily="34" charset="0"/>
              </a:rPr>
              <a:t>insert a new image.</a:t>
            </a:r>
            <a:endParaRPr lang="en-GB" noProof="0"/>
          </a:p>
        </p:txBody>
      </p:sp>
      <p:sp>
        <p:nvSpPr>
          <p:cNvPr id="45" name="Tijdelijke aanduiding voor afbeelding 12">
            <a:extLst>
              <a:ext uri="{FF2B5EF4-FFF2-40B4-BE49-F238E27FC236}">
                <a16:creationId xmlns:a16="http://schemas.microsoft.com/office/drawing/2014/main" id="{51FE0753-454B-452F-86DC-C965F0ECC7DE}"/>
              </a:ext>
            </a:extLst>
          </p:cNvPr>
          <p:cNvSpPr>
            <a:spLocks noGrp="1"/>
          </p:cNvSpPr>
          <p:nvPr>
            <p:ph type="pic" sz="quarter" idx="15" hasCustomPrompt="1"/>
          </p:nvPr>
        </p:nvSpPr>
        <p:spPr>
          <a:xfrm>
            <a:off x="3599866" y="1453020"/>
            <a:ext cx="2276499" cy="2502754"/>
          </a:xfrm>
          <a:solidFill>
            <a:schemeClr val="bg1">
              <a:lumMod val="95000"/>
            </a:schemeClr>
          </a:solidFill>
        </p:spPr>
        <p:txBody>
          <a:bodyPr tIns="1368000"/>
          <a:lstStyle>
            <a:lvl1pPr marL="0" indent="0" algn="ctr">
              <a:buNone/>
              <a:defRPr sz="1050" b="1" baseline="0"/>
            </a:lvl1pPr>
          </a:lstStyle>
          <a:p>
            <a:r>
              <a:rPr kumimoji="0" lang="en-GB" sz="1100" b="0" i="0" u="none" strike="noStrike" kern="0" cap="none" spc="0" normalizeH="0" baseline="0" noProof="0">
                <a:ln>
                  <a:noFill/>
                </a:ln>
                <a:solidFill>
                  <a:srgbClr val="000000"/>
                </a:solidFill>
                <a:effectLst/>
                <a:uLnTx/>
                <a:uFillTx/>
                <a:latin typeface="+mn-lt"/>
                <a:cs typeface="Segoe UI Light" panose="020B0502040204020203" pitchFamily="34" charset="0"/>
              </a:rPr>
              <a:t>Click on the pictogram to </a:t>
            </a:r>
            <a:br>
              <a:rPr kumimoji="0" lang="en-GB"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GB" sz="1100" b="0" i="0" u="none" strike="noStrike" kern="0" cap="none" spc="0" normalizeH="0" baseline="0" noProof="0">
                <a:ln>
                  <a:noFill/>
                </a:ln>
                <a:solidFill>
                  <a:srgbClr val="000000"/>
                </a:solidFill>
                <a:effectLst/>
                <a:uLnTx/>
                <a:uFillTx/>
                <a:latin typeface="+mn-lt"/>
                <a:cs typeface="Segoe UI Light" panose="020B0502040204020203" pitchFamily="34" charset="0"/>
              </a:rPr>
              <a:t>insert a new image.</a:t>
            </a:r>
            <a:endParaRPr lang="en-GB" noProof="0"/>
          </a:p>
        </p:txBody>
      </p:sp>
      <p:sp>
        <p:nvSpPr>
          <p:cNvPr id="46" name="Tijdelijke aanduiding voor afbeelding 12">
            <a:extLst>
              <a:ext uri="{FF2B5EF4-FFF2-40B4-BE49-F238E27FC236}">
                <a16:creationId xmlns:a16="http://schemas.microsoft.com/office/drawing/2014/main" id="{CD5DFF9B-A676-4B7E-A0E4-781836790C62}"/>
              </a:ext>
            </a:extLst>
          </p:cNvPr>
          <p:cNvSpPr>
            <a:spLocks noGrp="1"/>
          </p:cNvSpPr>
          <p:nvPr>
            <p:ph type="pic" sz="quarter" idx="16" hasCustomPrompt="1"/>
          </p:nvPr>
        </p:nvSpPr>
        <p:spPr>
          <a:xfrm>
            <a:off x="6429009" y="1453020"/>
            <a:ext cx="2276499" cy="2502754"/>
          </a:xfrm>
          <a:solidFill>
            <a:schemeClr val="bg1">
              <a:lumMod val="95000"/>
            </a:schemeClr>
          </a:solidFill>
        </p:spPr>
        <p:txBody>
          <a:bodyPr tIns="1368000"/>
          <a:lstStyle>
            <a:lvl1pPr marL="0" indent="0" algn="ctr">
              <a:buNone/>
              <a:defRPr sz="1050" b="1" baseline="0"/>
            </a:lvl1pPr>
          </a:lstStyle>
          <a:p>
            <a:r>
              <a:rPr kumimoji="0" lang="en-GB" sz="1100" b="0" i="0" u="none" strike="noStrike" kern="0" cap="none" spc="0" normalizeH="0" baseline="0" noProof="0">
                <a:ln>
                  <a:noFill/>
                </a:ln>
                <a:solidFill>
                  <a:srgbClr val="000000"/>
                </a:solidFill>
                <a:effectLst/>
                <a:uLnTx/>
                <a:uFillTx/>
                <a:latin typeface="+mn-lt"/>
                <a:cs typeface="Segoe UI Light" panose="020B0502040204020203" pitchFamily="34" charset="0"/>
              </a:rPr>
              <a:t>Click on the pictogram to </a:t>
            </a:r>
            <a:br>
              <a:rPr kumimoji="0" lang="en-GB"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GB" sz="1100" b="0" i="0" u="none" strike="noStrike" kern="0" cap="none" spc="0" normalizeH="0" baseline="0" noProof="0">
                <a:ln>
                  <a:noFill/>
                </a:ln>
                <a:solidFill>
                  <a:srgbClr val="000000"/>
                </a:solidFill>
                <a:effectLst/>
                <a:uLnTx/>
                <a:uFillTx/>
                <a:latin typeface="+mn-lt"/>
                <a:cs typeface="Segoe UI Light" panose="020B0502040204020203" pitchFamily="34" charset="0"/>
              </a:rPr>
              <a:t>insert a new image.</a:t>
            </a:r>
            <a:endParaRPr lang="en-GB" noProof="0"/>
          </a:p>
        </p:txBody>
      </p:sp>
      <p:sp>
        <p:nvSpPr>
          <p:cNvPr id="47" name="Tijdelijke aanduiding voor afbeelding 12">
            <a:extLst>
              <a:ext uri="{FF2B5EF4-FFF2-40B4-BE49-F238E27FC236}">
                <a16:creationId xmlns:a16="http://schemas.microsoft.com/office/drawing/2014/main" id="{CC3D2EFE-0CF1-4B85-8D29-ABDBB7514649}"/>
              </a:ext>
            </a:extLst>
          </p:cNvPr>
          <p:cNvSpPr>
            <a:spLocks noGrp="1"/>
          </p:cNvSpPr>
          <p:nvPr>
            <p:ph type="pic" sz="quarter" idx="17" hasCustomPrompt="1"/>
          </p:nvPr>
        </p:nvSpPr>
        <p:spPr>
          <a:xfrm>
            <a:off x="9251316" y="1453020"/>
            <a:ext cx="2276499" cy="2502754"/>
          </a:xfrm>
          <a:solidFill>
            <a:schemeClr val="bg1">
              <a:lumMod val="95000"/>
            </a:schemeClr>
          </a:solidFill>
        </p:spPr>
        <p:txBody>
          <a:bodyPr tIns="1368000"/>
          <a:lstStyle>
            <a:lvl1pPr marL="0" indent="0" algn="ctr">
              <a:buNone/>
              <a:defRPr sz="1050" b="1" baseline="0"/>
            </a:lvl1pPr>
          </a:lstStyle>
          <a:p>
            <a:r>
              <a:rPr kumimoji="0" lang="en-GB" sz="1100" b="0" i="0" u="none" strike="noStrike" kern="0" cap="none" spc="0" normalizeH="0" baseline="0" noProof="0">
                <a:ln>
                  <a:noFill/>
                </a:ln>
                <a:solidFill>
                  <a:srgbClr val="000000"/>
                </a:solidFill>
                <a:effectLst/>
                <a:uLnTx/>
                <a:uFillTx/>
                <a:latin typeface="+mn-lt"/>
                <a:cs typeface="Segoe UI Light" panose="020B0502040204020203" pitchFamily="34" charset="0"/>
              </a:rPr>
              <a:t>Click on the pictogram to </a:t>
            </a:r>
            <a:br>
              <a:rPr kumimoji="0" lang="en-GB"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GB" sz="1100" b="0" i="0" u="none" strike="noStrike" kern="0" cap="none" spc="0" normalizeH="0" baseline="0" noProof="0">
                <a:ln>
                  <a:noFill/>
                </a:ln>
                <a:solidFill>
                  <a:srgbClr val="000000"/>
                </a:solidFill>
                <a:effectLst/>
                <a:uLnTx/>
                <a:uFillTx/>
                <a:latin typeface="+mn-lt"/>
                <a:cs typeface="Segoe UI Light" panose="020B0502040204020203" pitchFamily="34" charset="0"/>
              </a:rPr>
              <a:t>insert a new image.</a:t>
            </a:r>
            <a:endParaRPr lang="en-GB" noProof="0"/>
          </a:p>
        </p:txBody>
      </p:sp>
      <p:sp>
        <p:nvSpPr>
          <p:cNvPr id="9" name="Title 1">
            <a:extLst>
              <a:ext uri="{FF2B5EF4-FFF2-40B4-BE49-F238E27FC236}">
                <a16:creationId xmlns:a16="http://schemas.microsoft.com/office/drawing/2014/main" id="{06DFB77B-0749-C848-81BB-9085DBFF5A62}"/>
              </a:ext>
            </a:extLst>
          </p:cNvPr>
          <p:cNvSpPr>
            <a:spLocks noGrp="1"/>
          </p:cNvSpPr>
          <p:nvPr>
            <p:ph type="title"/>
          </p:nvPr>
        </p:nvSpPr>
        <p:spPr>
          <a:xfrm>
            <a:off x="471600" y="457200"/>
            <a:ext cx="7502400" cy="896938"/>
          </a:xfrm>
        </p:spPr>
        <p:txBody>
          <a:bodyPr/>
          <a:lstStyle/>
          <a:p>
            <a:r>
              <a:rPr lang="en-US"/>
              <a:t>Click to edit Master title style</a:t>
            </a:r>
            <a:endParaRPr lang="en-GB" dirty="0"/>
          </a:p>
        </p:txBody>
      </p:sp>
    </p:spTree>
    <p:extLst>
      <p:ext uri="{BB962C8B-B14F-4D97-AF65-F5344CB8AC3E}">
        <p14:creationId xmlns:p14="http://schemas.microsoft.com/office/powerpoint/2010/main" val="321290340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GRAPH (100%)">
    <p:spTree>
      <p:nvGrpSpPr>
        <p:cNvPr id="1" name=""/>
        <p:cNvGrpSpPr/>
        <p:nvPr/>
      </p:nvGrpSpPr>
      <p:grpSpPr>
        <a:xfrm>
          <a:off x="0" y="0"/>
          <a:ext cx="0" cy="0"/>
          <a:chOff x="0" y="0"/>
          <a:chExt cx="0" cy="0"/>
        </a:xfrm>
      </p:grpSpPr>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en-GB" noProof="0" smtClean="0"/>
              <a:t>‹#›</a:t>
            </a:fld>
            <a:endParaRPr lang="en-GB" noProof="0"/>
          </a:p>
        </p:txBody>
      </p:sp>
      <p:sp>
        <p:nvSpPr>
          <p:cNvPr id="91" name="Tijdelijke aanduiding voor grafiek 7">
            <a:extLst>
              <a:ext uri="{FF2B5EF4-FFF2-40B4-BE49-F238E27FC236}">
                <a16:creationId xmlns:a16="http://schemas.microsoft.com/office/drawing/2014/main" id="{BDED734F-E8EE-4A40-A3B0-CCDA1D102C45}"/>
              </a:ext>
            </a:extLst>
          </p:cNvPr>
          <p:cNvSpPr>
            <a:spLocks noGrp="1"/>
          </p:cNvSpPr>
          <p:nvPr>
            <p:ph type="chart" sz="quarter" idx="14" hasCustomPrompt="1"/>
          </p:nvPr>
        </p:nvSpPr>
        <p:spPr>
          <a:xfrm>
            <a:off x="783771" y="1117600"/>
            <a:ext cx="10755086" cy="5210629"/>
          </a:xfrm>
          <a:solidFill>
            <a:schemeClr val="bg1">
              <a:lumMod val="95000"/>
            </a:schemeClr>
          </a:solidFill>
        </p:spPr>
        <p:txBody>
          <a:bodyPr tIns="1620000"/>
          <a:lstStyle>
            <a:lvl1pPr marL="0" indent="0" algn="ctr">
              <a:buNone/>
              <a:defRPr sz="1050" b="1" baseline="0"/>
            </a:lvl1pPr>
          </a:lstStyle>
          <a:p>
            <a:r>
              <a:rPr kumimoji="0" lang="en-GB" sz="1100" b="0" i="0" u="none" strike="noStrike" kern="0" cap="none" spc="0" normalizeH="0" baseline="0" noProof="0">
                <a:ln>
                  <a:noFill/>
                </a:ln>
                <a:solidFill>
                  <a:srgbClr val="000000"/>
                </a:solidFill>
                <a:effectLst/>
                <a:uLnTx/>
                <a:uFillTx/>
                <a:latin typeface="+mn-lt"/>
                <a:cs typeface="Segoe UI Light" panose="020B0502040204020203" pitchFamily="34" charset="0"/>
              </a:rPr>
              <a:t>Click on the pictogram to insert a new chart.</a:t>
            </a:r>
            <a:endParaRPr lang="en-GB" noProof="0"/>
          </a:p>
        </p:txBody>
      </p:sp>
      <p:sp>
        <p:nvSpPr>
          <p:cNvPr id="3" name="Titel 2">
            <a:extLst>
              <a:ext uri="{FF2B5EF4-FFF2-40B4-BE49-F238E27FC236}">
                <a16:creationId xmlns:a16="http://schemas.microsoft.com/office/drawing/2014/main" id="{E9502EA9-5698-4F43-B929-4A916AC33511}"/>
              </a:ext>
            </a:extLst>
          </p:cNvPr>
          <p:cNvSpPr>
            <a:spLocks noGrp="1"/>
          </p:cNvSpPr>
          <p:nvPr>
            <p:ph type="title" hasCustomPrompt="1"/>
          </p:nvPr>
        </p:nvSpPr>
        <p:spPr/>
        <p:txBody>
          <a:bodyPr/>
          <a:lstStyle>
            <a:lvl1pPr>
              <a:defRPr/>
            </a:lvl1pPr>
          </a:lstStyle>
          <a:p>
            <a:r>
              <a:rPr lang="en-GB" noProof="0"/>
              <a:t>Click to add a title</a:t>
            </a:r>
          </a:p>
        </p:txBody>
      </p:sp>
    </p:spTree>
    <p:extLst>
      <p:ext uri="{BB962C8B-B14F-4D97-AF65-F5344CB8AC3E}">
        <p14:creationId xmlns:p14="http://schemas.microsoft.com/office/powerpoint/2010/main" val="397460153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MOCKUP COMPUTER">
    <p:spTree>
      <p:nvGrpSpPr>
        <p:cNvPr id="1" name=""/>
        <p:cNvGrpSpPr/>
        <p:nvPr/>
      </p:nvGrpSpPr>
      <p:grpSpPr>
        <a:xfrm>
          <a:off x="0" y="0"/>
          <a:ext cx="0" cy="0"/>
          <a:chOff x="0" y="0"/>
          <a:chExt cx="0" cy="0"/>
        </a:xfrm>
      </p:grpSpPr>
      <p:pic>
        <p:nvPicPr>
          <p:cNvPr id="52" name="Afbeelding 51">
            <a:extLst>
              <a:ext uri="{FF2B5EF4-FFF2-40B4-BE49-F238E27FC236}">
                <a16:creationId xmlns:a16="http://schemas.microsoft.com/office/drawing/2014/main" id="{B9099373-6768-4E01-BF23-39BC400F8F6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620780" y="895744"/>
            <a:ext cx="6894286" cy="5720566"/>
          </a:xfrm>
          <a:prstGeom prst="rect">
            <a:avLst/>
          </a:prstGeom>
        </p:spPr>
      </p:pic>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en-GB" noProof="0" smtClean="0"/>
              <a:t>‹#›</a:t>
            </a:fld>
            <a:endParaRPr lang="en-GB" noProof="0"/>
          </a:p>
        </p:txBody>
      </p:sp>
      <p:sp>
        <p:nvSpPr>
          <p:cNvPr id="3" name="Titel 2">
            <a:extLst>
              <a:ext uri="{FF2B5EF4-FFF2-40B4-BE49-F238E27FC236}">
                <a16:creationId xmlns:a16="http://schemas.microsoft.com/office/drawing/2014/main" id="{E9502EA9-5698-4F43-B929-4A916AC33511}"/>
              </a:ext>
            </a:extLst>
          </p:cNvPr>
          <p:cNvSpPr>
            <a:spLocks noGrp="1"/>
          </p:cNvSpPr>
          <p:nvPr>
            <p:ph type="title" hasCustomPrompt="1"/>
          </p:nvPr>
        </p:nvSpPr>
        <p:spPr/>
        <p:txBody>
          <a:bodyPr/>
          <a:lstStyle>
            <a:lvl1pPr>
              <a:defRPr/>
            </a:lvl1pPr>
          </a:lstStyle>
          <a:p>
            <a:r>
              <a:rPr lang="en-GB" noProof="0"/>
              <a:t>Click to add a title</a:t>
            </a:r>
          </a:p>
        </p:txBody>
      </p:sp>
      <p:sp>
        <p:nvSpPr>
          <p:cNvPr id="70" name="Tijdelijke aanduiding voor afbeelding 12">
            <a:extLst>
              <a:ext uri="{FF2B5EF4-FFF2-40B4-BE49-F238E27FC236}">
                <a16:creationId xmlns:a16="http://schemas.microsoft.com/office/drawing/2014/main" id="{74672FE6-421D-4BD6-9E7A-A8657605619B}"/>
              </a:ext>
            </a:extLst>
          </p:cNvPr>
          <p:cNvSpPr>
            <a:spLocks noGrp="1"/>
          </p:cNvSpPr>
          <p:nvPr>
            <p:ph type="pic" sz="quarter" idx="14" hasCustomPrompt="1"/>
          </p:nvPr>
        </p:nvSpPr>
        <p:spPr>
          <a:xfrm>
            <a:off x="3050680" y="1362808"/>
            <a:ext cx="5987561" cy="3446584"/>
          </a:xfrm>
          <a:prstGeom prst="roundRect">
            <a:avLst>
              <a:gd name="adj" fmla="val 1871"/>
            </a:avLst>
          </a:prstGeom>
          <a:solidFill>
            <a:schemeClr val="bg1">
              <a:lumMod val="95000"/>
            </a:schemeClr>
          </a:solidFill>
          <a:ln>
            <a:noFill/>
          </a:ln>
        </p:spPr>
        <p:txBody>
          <a:bodyPr tIns="2232000"/>
          <a:lstStyle>
            <a:lvl1pPr marL="0" indent="0" algn="ctr">
              <a:buNone/>
              <a:defRPr sz="1050" b="1" baseline="0"/>
            </a:lvl1pPr>
          </a:lstStyle>
          <a:p>
            <a:r>
              <a:rPr kumimoji="0" lang="en-GB" sz="1100" b="0" i="0" u="none" strike="noStrike" kern="0" cap="none" spc="0" normalizeH="0" baseline="0" noProof="0">
                <a:ln>
                  <a:noFill/>
                </a:ln>
                <a:solidFill>
                  <a:srgbClr val="000000"/>
                </a:solidFill>
                <a:effectLst/>
                <a:uLnTx/>
                <a:uFillTx/>
                <a:latin typeface="+mn-lt"/>
                <a:cs typeface="Segoe UI Light" panose="020B0502040204020203" pitchFamily="34" charset="0"/>
              </a:rPr>
              <a:t>Click on the pictogram </a:t>
            </a:r>
            <a:br>
              <a:rPr kumimoji="0" lang="en-GB"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GB" sz="1100" b="0" i="0" u="none" strike="noStrike" kern="0" cap="none" spc="0" normalizeH="0" baseline="0" noProof="0">
                <a:ln>
                  <a:noFill/>
                </a:ln>
                <a:solidFill>
                  <a:srgbClr val="000000"/>
                </a:solidFill>
                <a:effectLst/>
                <a:uLnTx/>
                <a:uFillTx/>
                <a:latin typeface="+mn-lt"/>
                <a:cs typeface="Segoe UI Light" panose="020B0502040204020203" pitchFamily="34" charset="0"/>
              </a:rPr>
              <a:t>to insert a new image.</a:t>
            </a:r>
            <a:endParaRPr lang="en-GB" noProof="0"/>
          </a:p>
        </p:txBody>
      </p:sp>
    </p:spTree>
    <p:extLst>
      <p:ext uri="{BB962C8B-B14F-4D97-AF65-F5344CB8AC3E}">
        <p14:creationId xmlns:p14="http://schemas.microsoft.com/office/powerpoint/2010/main" val="298502048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MOCKUP TABLET">
    <p:spTree>
      <p:nvGrpSpPr>
        <p:cNvPr id="1" name=""/>
        <p:cNvGrpSpPr/>
        <p:nvPr/>
      </p:nvGrpSpPr>
      <p:grpSpPr>
        <a:xfrm>
          <a:off x="0" y="0"/>
          <a:ext cx="0" cy="0"/>
          <a:chOff x="0" y="0"/>
          <a:chExt cx="0" cy="0"/>
        </a:xfrm>
      </p:grpSpPr>
      <p:grpSp>
        <p:nvGrpSpPr>
          <p:cNvPr id="72" name="Groep 71">
            <a:extLst>
              <a:ext uri="{FF2B5EF4-FFF2-40B4-BE49-F238E27FC236}">
                <a16:creationId xmlns:a16="http://schemas.microsoft.com/office/drawing/2014/main" id="{E3206D4F-872A-4C8C-A879-9645D24EC58D}"/>
              </a:ext>
            </a:extLst>
          </p:cNvPr>
          <p:cNvGrpSpPr/>
          <p:nvPr userDrawn="1"/>
        </p:nvGrpSpPr>
        <p:grpSpPr>
          <a:xfrm>
            <a:off x="2585551" y="1057272"/>
            <a:ext cx="7020899" cy="4951641"/>
            <a:chOff x="2909296" y="623354"/>
            <a:chExt cx="7636150" cy="5385560"/>
          </a:xfrm>
        </p:grpSpPr>
        <p:pic>
          <p:nvPicPr>
            <p:cNvPr id="73" name="Picture 2" descr="Afbeeldingsresultaat voor IPAD mock up">
              <a:extLst>
                <a:ext uri="{FF2B5EF4-FFF2-40B4-BE49-F238E27FC236}">
                  <a16:creationId xmlns:a16="http://schemas.microsoft.com/office/drawing/2014/main" id="{D5E62AFE-A2DF-4CE1-9DF0-6DF5FE427E9B}"/>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2909296" y="623354"/>
              <a:ext cx="7636150" cy="5385560"/>
            </a:xfrm>
            <a:prstGeom prst="rect">
              <a:avLst/>
            </a:prstGeom>
            <a:noFill/>
            <a:extLst>
              <a:ext uri="{909E8E84-426E-40DD-AFC4-6F175D3DCCD1}">
                <a14:hiddenFill xmlns:a14="http://schemas.microsoft.com/office/drawing/2010/main">
                  <a:solidFill>
                    <a:srgbClr val="FFFFFF"/>
                  </a:solidFill>
                </a14:hiddenFill>
              </a:ext>
            </a:extLst>
          </p:spPr>
        </p:pic>
        <p:sp>
          <p:nvSpPr>
            <p:cNvPr id="74" name="Afgeronde rechthoek 17">
              <a:extLst>
                <a:ext uri="{FF2B5EF4-FFF2-40B4-BE49-F238E27FC236}">
                  <a16:creationId xmlns:a16="http://schemas.microsoft.com/office/drawing/2014/main" id="{40440F65-87D4-47C7-A3A0-3404536F4809}"/>
                </a:ext>
              </a:extLst>
            </p:cNvPr>
            <p:cNvSpPr/>
            <p:nvPr/>
          </p:nvSpPr>
          <p:spPr>
            <a:xfrm>
              <a:off x="3597866" y="964737"/>
              <a:ext cx="6270034" cy="4708755"/>
            </a:xfrm>
            <a:prstGeom prst="roundRect">
              <a:avLst>
                <a:gd name="adj" fmla="val 897"/>
              </a:avLst>
            </a:prstGeom>
            <a:solidFill>
              <a:srgbClr val="F6F6F6"/>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gr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en-GB" noProof="0" smtClean="0"/>
              <a:t>‹#›</a:t>
            </a:fld>
            <a:endParaRPr lang="en-GB" noProof="0"/>
          </a:p>
        </p:txBody>
      </p:sp>
      <p:sp>
        <p:nvSpPr>
          <p:cNvPr id="3" name="Titel 2">
            <a:extLst>
              <a:ext uri="{FF2B5EF4-FFF2-40B4-BE49-F238E27FC236}">
                <a16:creationId xmlns:a16="http://schemas.microsoft.com/office/drawing/2014/main" id="{E9502EA9-5698-4F43-B929-4A916AC33511}"/>
              </a:ext>
            </a:extLst>
          </p:cNvPr>
          <p:cNvSpPr>
            <a:spLocks noGrp="1"/>
          </p:cNvSpPr>
          <p:nvPr>
            <p:ph type="title" hasCustomPrompt="1"/>
          </p:nvPr>
        </p:nvSpPr>
        <p:spPr/>
        <p:txBody>
          <a:bodyPr/>
          <a:lstStyle>
            <a:lvl1pPr>
              <a:defRPr/>
            </a:lvl1pPr>
          </a:lstStyle>
          <a:p>
            <a:r>
              <a:rPr lang="en-GB" noProof="0"/>
              <a:t>Click to add a title</a:t>
            </a:r>
          </a:p>
        </p:txBody>
      </p:sp>
      <p:sp>
        <p:nvSpPr>
          <p:cNvPr id="70" name="Tijdelijke aanduiding voor afbeelding 12">
            <a:extLst>
              <a:ext uri="{FF2B5EF4-FFF2-40B4-BE49-F238E27FC236}">
                <a16:creationId xmlns:a16="http://schemas.microsoft.com/office/drawing/2014/main" id="{74672FE6-421D-4BD6-9E7A-A8657605619B}"/>
              </a:ext>
            </a:extLst>
          </p:cNvPr>
          <p:cNvSpPr>
            <a:spLocks noGrp="1"/>
          </p:cNvSpPr>
          <p:nvPr>
            <p:ph type="pic" sz="quarter" idx="14" hasCustomPrompt="1"/>
          </p:nvPr>
        </p:nvSpPr>
        <p:spPr>
          <a:xfrm>
            <a:off x="3202042" y="1362807"/>
            <a:ext cx="5832366" cy="4371787"/>
          </a:xfrm>
          <a:prstGeom prst="roundRect">
            <a:avLst>
              <a:gd name="adj" fmla="val 1871"/>
            </a:avLst>
          </a:prstGeom>
          <a:solidFill>
            <a:schemeClr val="bg1">
              <a:lumMod val="95000"/>
            </a:schemeClr>
          </a:solidFill>
          <a:ln>
            <a:noFill/>
          </a:ln>
        </p:spPr>
        <p:txBody>
          <a:bodyPr tIns="2232000"/>
          <a:lstStyle>
            <a:lvl1pPr marL="0" indent="0" algn="ctr">
              <a:buNone/>
              <a:defRPr sz="1050" b="1" baseline="0"/>
            </a:lvl1pPr>
          </a:lstStyle>
          <a:p>
            <a:r>
              <a:rPr kumimoji="0" lang="en-GB" sz="1100" b="0" i="0" u="none" strike="noStrike" kern="0" cap="none" spc="0" normalizeH="0" baseline="0" noProof="0">
                <a:ln>
                  <a:noFill/>
                </a:ln>
                <a:solidFill>
                  <a:srgbClr val="000000"/>
                </a:solidFill>
                <a:effectLst/>
                <a:uLnTx/>
                <a:uFillTx/>
                <a:latin typeface="+mn-lt"/>
                <a:cs typeface="Segoe UI Light" panose="020B0502040204020203" pitchFamily="34" charset="0"/>
              </a:rPr>
              <a:t>Click on the pictogram </a:t>
            </a:r>
            <a:br>
              <a:rPr kumimoji="0" lang="en-GB"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GB" sz="1100" b="0" i="0" u="none" strike="noStrike" kern="0" cap="none" spc="0" normalizeH="0" baseline="0" noProof="0">
                <a:ln>
                  <a:noFill/>
                </a:ln>
                <a:solidFill>
                  <a:srgbClr val="000000"/>
                </a:solidFill>
                <a:effectLst/>
                <a:uLnTx/>
                <a:uFillTx/>
                <a:latin typeface="+mn-lt"/>
                <a:cs typeface="Segoe UI Light" panose="020B0502040204020203" pitchFamily="34" charset="0"/>
              </a:rPr>
              <a:t>to insert a new image.</a:t>
            </a:r>
            <a:endParaRPr lang="en-GB" noProof="0"/>
          </a:p>
        </p:txBody>
      </p:sp>
    </p:spTree>
    <p:extLst>
      <p:ext uri="{BB962C8B-B14F-4D97-AF65-F5344CB8AC3E}">
        <p14:creationId xmlns:p14="http://schemas.microsoft.com/office/powerpoint/2010/main" val="397620964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hank You Slide">
    <p:spTree>
      <p:nvGrpSpPr>
        <p:cNvPr id="1" name=""/>
        <p:cNvGrpSpPr/>
        <p:nvPr/>
      </p:nvGrpSpPr>
      <p:grpSpPr>
        <a:xfrm>
          <a:off x="0" y="0"/>
          <a:ext cx="0" cy="0"/>
          <a:chOff x="0" y="0"/>
          <a:chExt cx="0" cy="0"/>
        </a:xfrm>
      </p:grpSpPr>
      <p:sp>
        <p:nvSpPr>
          <p:cNvPr id="30" name="TextBox 29">
            <a:extLst>
              <a:ext uri="{FF2B5EF4-FFF2-40B4-BE49-F238E27FC236}">
                <a16:creationId xmlns:a16="http://schemas.microsoft.com/office/drawing/2014/main" id="{468EAFAF-8E8A-49AA-9EB1-9ACAF9DC90B9}"/>
              </a:ext>
            </a:extLst>
          </p:cNvPr>
          <p:cNvSpPr txBox="1"/>
          <p:nvPr userDrawn="1"/>
        </p:nvSpPr>
        <p:spPr>
          <a:xfrm>
            <a:off x="1343026" y="2285999"/>
            <a:ext cx="7200900" cy="1037896"/>
          </a:xfrm>
          <a:prstGeom prst="rect">
            <a:avLst/>
          </a:prstGeom>
        </p:spPr>
        <p:txBody>
          <a:bodyPr vert="horz" lIns="0" tIns="0" rIns="0" bIns="0" rtlCol="0" anchor="t" anchorCtr="0">
            <a:normAutofit/>
          </a:bodyPr>
          <a:lstStyle>
            <a:lvl1pPr>
              <a:lnSpc>
                <a:spcPts val="6630"/>
              </a:lnSpc>
              <a:spcBef>
                <a:spcPct val="0"/>
              </a:spcBef>
              <a:buNone/>
              <a:defRPr sz="6630">
                <a:solidFill>
                  <a:schemeClr val="accent2"/>
                </a:solidFill>
                <a:latin typeface="+mj-lt"/>
                <a:ea typeface="+mj-ea"/>
                <a:cs typeface="+mj-cs"/>
              </a:defRPr>
            </a:lvl1pPr>
          </a:lstStyle>
          <a:p>
            <a:pPr lvl="0"/>
            <a:r>
              <a:rPr lang="en-US" noProof="0" dirty="0"/>
              <a:t>Thank you</a:t>
            </a:r>
            <a:endParaRPr lang="en-GB" dirty="0"/>
          </a:p>
        </p:txBody>
      </p:sp>
      <p:sp>
        <p:nvSpPr>
          <p:cNvPr id="3" name="Subtitle 2"/>
          <p:cNvSpPr>
            <a:spLocks noGrp="1"/>
          </p:cNvSpPr>
          <p:nvPr>
            <p:ph type="subTitle" idx="1"/>
          </p:nvPr>
        </p:nvSpPr>
        <p:spPr>
          <a:xfrm>
            <a:off x="1343026" y="3323896"/>
            <a:ext cx="7200900" cy="1090761"/>
          </a:xfrm>
        </p:spPr>
        <p:txBody>
          <a:bodyPr/>
          <a:lstStyle>
            <a:lvl1pPr marL="0" indent="0" algn="l">
              <a:lnSpc>
                <a:spcPct val="100000"/>
              </a:lnSpc>
              <a:spcBef>
                <a:spcPts val="0"/>
              </a:spcBef>
              <a:spcAft>
                <a:spcPts val="0"/>
              </a:spcAft>
              <a:buNone/>
              <a:defRPr sz="141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Click to edit Master subtitle style</a:t>
            </a:r>
            <a:endParaRPr lang="en-GB" noProof="0" dirty="0"/>
          </a:p>
        </p:txBody>
      </p:sp>
      <p:pic>
        <p:nvPicPr>
          <p:cNvPr id="8" name="Picture 7">
            <a:extLst>
              <a:ext uri="{FF2B5EF4-FFF2-40B4-BE49-F238E27FC236}">
                <a16:creationId xmlns:a16="http://schemas.microsoft.com/office/drawing/2014/main" id="{DEDB3570-FCFE-4D37-81AF-ECB153EFD8D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71600" y="457200"/>
            <a:ext cx="1404000" cy="552898"/>
          </a:xfrm>
          <a:prstGeom prst="rect">
            <a:avLst/>
          </a:prstGeom>
        </p:spPr>
      </p:pic>
      <p:sp>
        <p:nvSpPr>
          <p:cNvPr id="4" name="TextBox 3">
            <a:extLst>
              <a:ext uri="{FF2B5EF4-FFF2-40B4-BE49-F238E27FC236}">
                <a16:creationId xmlns:a16="http://schemas.microsoft.com/office/drawing/2014/main" id="{0632D508-3EF1-9A47-B376-A3D28FC8C640}"/>
              </a:ext>
            </a:extLst>
          </p:cNvPr>
          <p:cNvSpPr txBox="1"/>
          <p:nvPr userDrawn="1"/>
        </p:nvSpPr>
        <p:spPr>
          <a:xfrm>
            <a:off x="5200650" y="5829300"/>
            <a:ext cx="0" cy="0"/>
          </a:xfrm>
          <a:prstGeom prst="rect">
            <a:avLst/>
          </a:prstGeom>
          <a:noFill/>
        </p:spPr>
        <p:txBody>
          <a:bodyPr wrap="none" lIns="0" tIns="0" rIns="0" bIns="0" rtlCol="0">
            <a:noAutofit/>
          </a:bodyPr>
          <a:lstStyle/>
          <a:p>
            <a:pPr algn="l">
              <a:lnSpc>
                <a:spcPts val="2290"/>
              </a:lnSpc>
            </a:pPr>
            <a:endParaRPr sz="1940" dirty="0" err="1">
              <a:solidFill>
                <a:schemeClr val="tx2"/>
              </a:solidFill>
            </a:endParaRPr>
          </a:p>
        </p:txBody>
      </p:sp>
      <p:grpSp>
        <p:nvGrpSpPr>
          <p:cNvPr id="18" name="Group 17">
            <a:extLst>
              <a:ext uri="{FF2B5EF4-FFF2-40B4-BE49-F238E27FC236}">
                <a16:creationId xmlns:a16="http://schemas.microsoft.com/office/drawing/2014/main" id="{50DF25AC-AA14-C740-85A0-78503346E043}"/>
              </a:ext>
            </a:extLst>
          </p:cNvPr>
          <p:cNvGrpSpPr/>
          <p:nvPr userDrawn="1"/>
        </p:nvGrpSpPr>
        <p:grpSpPr>
          <a:xfrm>
            <a:off x="0" y="0"/>
            <a:ext cx="12227595" cy="6858001"/>
            <a:chOff x="1260475" y="3576638"/>
            <a:chExt cx="1030288" cy="577850"/>
          </a:xfrm>
        </p:grpSpPr>
        <p:sp>
          <p:nvSpPr>
            <p:cNvPr id="19" name="Freeform 55">
              <a:extLst>
                <a:ext uri="{FF2B5EF4-FFF2-40B4-BE49-F238E27FC236}">
                  <a16:creationId xmlns:a16="http://schemas.microsoft.com/office/drawing/2014/main" id="{F8362EB4-F4F1-7E4A-9408-7CF483ED31DC}"/>
                </a:ext>
              </a:extLst>
            </p:cNvPr>
            <p:cNvSpPr>
              <a:spLocks noChangeArrowheads="1"/>
            </p:cNvSpPr>
            <p:nvPr/>
          </p:nvSpPr>
          <p:spPr bwMode="auto">
            <a:xfrm>
              <a:off x="1994579" y="3723597"/>
              <a:ext cx="163512" cy="169862"/>
            </a:xfrm>
            <a:custGeom>
              <a:avLst/>
              <a:gdLst>
                <a:gd name="T0" fmla="*/ 355 w 456"/>
                <a:gd name="T1" fmla="*/ 409 h 470"/>
                <a:gd name="T2" fmla="*/ 455 w 456"/>
                <a:gd name="T3" fmla="*/ 279 h 470"/>
                <a:gd name="T4" fmla="*/ 324 w 456"/>
                <a:gd name="T5" fmla="*/ 178 h 470"/>
                <a:gd name="T6" fmla="*/ 303 w 456"/>
                <a:gd name="T7" fmla="*/ 14 h 470"/>
                <a:gd name="T8" fmla="*/ 139 w 456"/>
                <a:gd name="T9" fmla="*/ 36 h 470"/>
                <a:gd name="T10" fmla="*/ 60 w 456"/>
                <a:gd name="T11" fmla="*/ 331 h 470"/>
                <a:gd name="T12" fmla="*/ 355 w 456"/>
                <a:gd name="T13" fmla="*/ 409 h 470"/>
              </a:gdLst>
              <a:ahLst/>
              <a:cxnLst>
                <a:cxn ang="0">
                  <a:pos x="T0" y="T1"/>
                </a:cxn>
                <a:cxn ang="0">
                  <a:pos x="T2" y="T3"/>
                </a:cxn>
                <a:cxn ang="0">
                  <a:pos x="T4" y="T5"/>
                </a:cxn>
                <a:cxn ang="0">
                  <a:pos x="T6" y="T7"/>
                </a:cxn>
                <a:cxn ang="0">
                  <a:pos x="T8" y="T9"/>
                </a:cxn>
                <a:cxn ang="0">
                  <a:pos x="T10" y="T11"/>
                </a:cxn>
                <a:cxn ang="0">
                  <a:pos x="T12" y="T13"/>
                </a:cxn>
              </a:cxnLst>
              <a:rect l="0" t="0" r="r" b="b"/>
              <a:pathLst>
                <a:path w="456" h="470">
                  <a:moveTo>
                    <a:pt x="355" y="409"/>
                  </a:moveTo>
                  <a:cubicBezTo>
                    <a:pt x="406" y="379"/>
                    <a:pt x="441" y="332"/>
                    <a:pt x="455" y="279"/>
                  </a:cubicBezTo>
                  <a:cubicBezTo>
                    <a:pt x="402" y="265"/>
                    <a:pt x="354" y="229"/>
                    <a:pt x="324" y="178"/>
                  </a:cubicBezTo>
                  <a:cubicBezTo>
                    <a:pt x="294" y="126"/>
                    <a:pt x="288" y="68"/>
                    <a:pt x="303" y="14"/>
                  </a:cubicBezTo>
                  <a:cubicBezTo>
                    <a:pt x="249" y="0"/>
                    <a:pt x="190" y="6"/>
                    <a:pt x="139" y="36"/>
                  </a:cubicBezTo>
                  <a:cubicBezTo>
                    <a:pt x="35" y="96"/>
                    <a:pt x="0" y="228"/>
                    <a:pt x="60" y="331"/>
                  </a:cubicBezTo>
                  <a:cubicBezTo>
                    <a:pt x="119" y="433"/>
                    <a:pt x="251" y="469"/>
                    <a:pt x="355" y="409"/>
                  </a:cubicBezTo>
                </a:path>
              </a:pathLst>
            </a:custGeom>
            <a:solidFill>
              <a:schemeClr val="accent5">
                <a:alpha val="4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20" name="Freeform 56">
              <a:extLst>
                <a:ext uri="{FF2B5EF4-FFF2-40B4-BE49-F238E27FC236}">
                  <a16:creationId xmlns:a16="http://schemas.microsoft.com/office/drawing/2014/main" id="{BAB02D1D-5DCE-CF4D-A925-0CCCE6632957}"/>
                </a:ext>
              </a:extLst>
            </p:cNvPr>
            <p:cNvSpPr>
              <a:spLocks noChangeArrowheads="1"/>
            </p:cNvSpPr>
            <p:nvPr/>
          </p:nvSpPr>
          <p:spPr bwMode="auto">
            <a:xfrm>
              <a:off x="2119313" y="3741738"/>
              <a:ext cx="38100" cy="61912"/>
            </a:xfrm>
            <a:custGeom>
              <a:avLst/>
              <a:gdLst>
                <a:gd name="T0" fmla="*/ 7 w 107"/>
                <a:gd name="T1" fmla="*/ 0 h 173"/>
                <a:gd name="T2" fmla="*/ 25 w 107"/>
                <a:gd name="T3" fmla="*/ 105 h 173"/>
                <a:gd name="T4" fmla="*/ 106 w 107"/>
                <a:gd name="T5" fmla="*/ 172 h 173"/>
                <a:gd name="T6" fmla="*/ 78 w 107"/>
                <a:gd name="T7" fmla="*/ 74 h 173"/>
                <a:gd name="T8" fmla="*/ 7 w 107"/>
                <a:gd name="T9" fmla="*/ 0 h 173"/>
              </a:gdLst>
              <a:ahLst/>
              <a:cxnLst>
                <a:cxn ang="0">
                  <a:pos x="T0" y="T1"/>
                </a:cxn>
                <a:cxn ang="0">
                  <a:pos x="T2" y="T3"/>
                </a:cxn>
                <a:cxn ang="0">
                  <a:pos x="T4" y="T5"/>
                </a:cxn>
                <a:cxn ang="0">
                  <a:pos x="T6" y="T7"/>
                </a:cxn>
                <a:cxn ang="0">
                  <a:pos x="T8" y="T9"/>
                </a:cxn>
              </a:cxnLst>
              <a:rect l="0" t="0" r="r" b="b"/>
              <a:pathLst>
                <a:path w="107" h="173">
                  <a:moveTo>
                    <a:pt x="7" y="0"/>
                  </a:moveTo>
                  <a:cubicBezTo>
                    <a:pt x="0" y="36"/>
                    <a:pt x="6" y="73"/>
                    <a:pt x="25" y="105"/>
                  </a:cubicBezTo>
                  <a:cubicBezTo>
                    <a:pt x="43" y="136"/>
                    <a:pt x="72" y="160"/>
                    <a:pt x="106" y="172"/>
                  </a:cubicBezTo>
                  <a:cubicBezTo>
                    <a:pt x="105" y="138"/>
                    <a:pt x="95" y="105"/>
                    <a:pt x="78" y="74"/>
                  </a:cubicBezTo>
                  <a:cubicBezTo>
                    <a:pt x="60" y="43"/>
                    <a:pt x="36" y="18"/>
                    <a:pt x="7" y="0"/>
                  </a:cubicBezTo>
                </a:path>
              </a:pathLst>
            </a:custGeom>
            <a:solidFill>
              <a:schemeClr val="accent5">
                <a:alpha val="4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a:p>
          </p:txBody>
        </p:sp>
        <p:sp>
          <p:nvSpPr>
            <p:cNvPr id="21" name="Freeform 57">
              <a:extLst>
                <a:ext uri="{FF2B5EF4-FFF2-40B4-BE49-F238E27FC236}">
                  <a16:creationId xmlns:a16="http://schemas.microsoft.com/office/drawing/2014/main" id="{7B6CCA06-C5CD-2746-8BBD-306C87C5055D}"/>
                </a:ext>
              </a:extLst>
            </p:cNvPr>
            <p:cNvSpPr>
              <a:spLocks noChangeArrowheads="1"/>
            </p:cNvSpPr>
            <p:nvPr/>
          </p:nvSpPr>
          <p:spPr bwMode="auto">
            <a:xfrm>
              <a:off x="2100263" y="3673475"/>
              <a:ext cx="163512" cy="155575"/>
            </a:xfrm>
            <a:custGeom>
              <a:avLst/>
              <a:gdLst>
                <a:gd name="T0" fmla="*/ 63 w 456"/>
                <a:gd name="T1" fmla="*/ 177 h 433"/>
                <a:gd name="T2" fmla="*/ 133 w 456"/>
                <a:gd name="T3" fmla="*/ 86 h 433"/>
                <a:gd name="T4" fmla="*/ 208 w 456"/>
                <a:gd name="T5" fmla="*/ 66 h 433"/>
                <a:gd name="T6" fmla="*/ 208 w 456"/>
                <a:gd name="T7" fmla="*/ 66 h 433"/>
                <a:gd name="T8" fmla="*/ 339 w 456"/>
                <a:gd name="T9" fmla="*/ 141 h 433"/>
                <a:gd name="T10" fmla="*/ 283 w 456"/>
                <a:gd name="T11" fmla="*/ 347 h 433"/>
                <a:gd name="T12" fmla="*/ 208 w 456"/>
                <a:gd name="T13" fmla="*/ 367 h 433"/>
                <a:gd name="T14" fmla="*/ 159 w 456"/>
                <a:gd name="T15" fmla="*/ 359 h 433"/>
                <a:gd name="T16" fmla="*/ 152 w 456"/>
                <a:gd name="T17" fmla="*/ 425 h 433"/>
                <a:gd name="T18" fmla="*/ 208 w 456"/>
                <a:gd name="T19" fmla="*/ 432 h 433"/>
                <a:gd name="T20" fmla="*/ 316 w 456"/>
                <a:gd name="T21" fmla="*/ 403 h 433"/>
                <a:gd name="T22" fmla="*/ 395 w 456"/>
                <a:gd name="T23" fmla="*/ 108 h 433"/>
                <a:gd name="T24" fmla="*/ 208 w 456"/>
                <a:gd name="T25" fmla="*/ 0 h 433"/>
                <a:gd name="T26" fmla="*/ 100 w 456"/>
                <a:gd name="T27" fmla="*/ 29 h 433"/>
                <a:gd name="T28" fmla="*/ 0 w 456"/>
                <a:gd name="T29" fmla="*/ 160 h 433"/>
                <a:gd name="T30" fmla="*/ 60 w 456"/>
                <a:gd name="T31" fmla="*/ 187 h 433"/>
                <a:gd name="T32" fmla="*/ 63 w 456"/>
                <a:gd name="T33" fmla="*/ 177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6" h="433">
                  <a:moveTo>
                    <a:pt x="63" y="177"/>
                  </a:moveTo>
                  <a:cubicBezTo>
                    <a:pt x="73" y="139"/>
                    <a:pt x="98" y="106"/>
                    <a:pt x="133" y="86"/>
                  </a:cubicBezTo>
                  <a:cubicBezTo>
                    <a:pt x="156" y="73"/>
                    <a:pt x="182" y="66"/>
                    <a:pt x="208" y="66"/>
                  </a:cubicBezTo>
                  <a:lnTo>
                    <a:pt x="208" y="66"/>
                  </a:lnTo>
                  <a:cubicBezTo>
                    <a:pt x="262" y="66"/>
                    <a:pt x="312" y="95"/>
                    <a:pt x="339" y="141"/>
                  </a:cubicBezTo>
                  <a:cubicBezTo>
                    <a:pt x="380" y="213"/>
                    <a:pt x="355" y="305"/>
                    <a:pt x="283" y="347"/>
                  </a:cubicBezTo>
                  <a:cubicBezTo>
                    <a:pt x="260" y="360"/>
                    <a:pt x="235" y="367"/>
                    <a:pt x="208" y="367"/>
                  </a:cubicBezTo>
                  <a:cubicBezTo>
                    <a:pt x="191" y="367"/>
                    <a:pt x="175" y="364"/>
                    <a:pt x="159" y="359"/>
                  </a:cubicBezTo>
                  <a:cubicBezTo>
                    <a:pt x="160" y="381"/>
                    <a:pt x="158" y="403"/>
                    <a:pt x="152" y="425"/>
                  </a:cubicBezTo>
                  <a:cubicBezTo>
                    <a:pt x="170" y="430"/>
                    <a:pt x="189" y="432"/>
                    <a:pt x="208" y="432"/>
                  </a:cubicBezTo>
                  <a:cubicBezTo>
                    <a:pt x="245" y="432"/>
                    <a:pt x="282" y="423"/>
                    <a:pt x="316" y="403"/>
                  </a:cubicBezTo>
                  <a:cubicBezTo>
                    <a:pt x="419" y="344"/>
                    <a:pt x="455" y="212"/>
                    <a:pt x="395" y="108"/>
                  </a:cubicBezTo>
                  <a:cubicBezTo>
                    <a:pt x="355" y="39"/>
                    <a:pt x="283" y="0"/>
                    <a:pt x="208" y="0"/>
                  </a:cubicBezTo>
                  <a:cubicBezTo>
                    <a:pt x="171" y="0"/>
                    <a:pt x="134" y="10"/>
                    <a:pt x="100" y="29"/>
                  </a:cubicBezTo>
                  <a:cubicBezTo>
                    <a:pt x="49" y="59"/>
                    <a:pt x="14" y="107"/>
                    <a:pt x="0" y="160"/>
                  </a:cubicBezTo>
                  <a:cubicBezTo>
                    <a:pt x="21" y="166"/>
                    <a:pt x="42" y="175"/>
                    <a:pt x="60" y="187"/>
                  </a:cubicBezTo>
                  <a:cubicBezTo>
                    <a:pt x="61" y="184"/>
                    <a:pt x="62" y="181"/>
                    <a:pt x="63" y="177"/>
                  </a:cubicBezTo>
                </a:path>
              </a:pathLst>
            </a:custGeom>
            <a:solidFill>
              <a:schemeClr val="accent5">
                <a:alpha val="7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a:p>
          </p:txBody>
        </p:sp>
        <p:sp>
          <p:nvSpPr>
            <p:cNvPr id="22" name="Freeform 58">
              <a:extLst>
                <a:ext uri="{FF2B5EF4-FFF2-40B4-BE49-F238E27FC236}">
                  <a16:creationId xmlns:a16="http://schemas.microsoft.com/office/drawing/2014/main" id="{13A36AFC-F6D8-A347-9FAF-30163EA6510E}"/>
                </a:ext>
              </a:extLst>
            </p:cNvPr>
            <p:cNvSpPr>
              <a:spLocks noChangeArrowheads="1"/>
            </p:cNvSpPr>
            <p:nvPr/>
          </p:nvSpPr>
          <p:spPr bwMode="auto">
            <a:xfrm>
              <a:off x="2095500" y="3730625"/>
              <a:ext cx="63500" cy="95250"/>
            </a:xfrm>
            <a:custGeom>
              <a:avLst/>
              <a:gdLst>
                <a:gd name="T0" fmla="*/ 36 w 176"/>
                <a:gd name="T1" fmla="*/ 164 h 266"/>
                <a:gd name="T2" fmla="*/ 167 w 176"/>
                <a:gd name="T3" fmla="*/ 265 h 266"/>
                <a:gd name="T4" fmla="*/ 174 w 176"/>
                <a:gd name="T5" fmla="*/ 199 h 266"/>
                <a:gd name="T6" fmla="*/ 93 w 176"/>
                <a:gd name="T7" fmla="*/ 132 h 266"/>
                <a:gd name="T8" fmla="*/ 75 w 176"/>
                <a:gd name="T9" fmla="*/ 27 h 266"/>
                <a:gd name="T10" fmla="*/ 15 w 176"/>
                <a:gd name="T11" fmla="*/ 0 h 266"/>
                <a:gd name="T12" fmla="*/ 36 w 176"/>
                <a:gd name="T13" fmla="*/ 164 h 266"/>
              </a:gdLst>
              <a:ahLst/>
              <a:cxnLst>
                <a:cxn ang="0">
                  <a:pos x="T0" y="T1"/>
                </a:cxn>
                <a:cxn ang="0">
                  <a:pos x="T2" y="T3"/>
                </a:cxn>
                <a:cxn ang="0">
                  <a:pos x="T4" y="T5"/>
                </a:cxn>
                <a:cxn ang="0">
                  <a:pos x="T6" y="T7"/>
                </a:cxn>
                <a:cxn ang="0">
                  <a:pos x="T8" y="T9"/>
                </a:cxn>
                <a:cxn ang="0">
                  <a:pos x="T10" y="T11"/>
                </a:cxn>
                <a:cxn ang="0">
                  <a:pos x="T12" y="T13"/>
                </a:cxn>
              </a:cxnLst>
              <a:rect l="0" t="0" r="r" b="b"/>
              <a:pathLst>
                <a:path w="176" h="266">
                  <a:moveTo>
                    <a:pt x="36" y="164"/>
                  </a:moveTo>
                  <a:cubicBezTo>
                    <a:pt x="66" y="216"/>
                    <a:pt x="114" y="251"/>
                    <a:pt x="167" y="265"/>
                  </a:cubicBezTo>
                  <a:cubicBezTo>
                    <a:pt x="173" y="243"/>
                    <a:pt x="175" y="221"/>
                    <a:pt x="174" y="199"/>
                  </a:cubicBezTo>
                  <a:cubicBezTo>
                    <a:pt x="140" y="187"/>
                    <a:pt x="111" y="163"/>
                    <a:pt x="93" y="132"/>
                  </a:cubicBezTo>
                  <a:cubicBezTo>
                    <a:pt x="74" y="100"/>
                    <a:pt x="68" y="63"/>
                    <a:pt x="75" y="27"/>
                  </a:cubicBezTo>
                  <a:cubicBezTo>
                    <a:pt x="57" y="15"/>
                    <a:pt x="36" y="6"/>
                    <a:pt x="15" y="0"/>
                  </a:cubicBezTo>
                  <a:cubicBezTo>
                    <a:pt x="0" y="54"/>
                    <a:pt x="6" y="113"/>
                    <a:pt x="36" y="164"/>
                  </a:cubicBezTo>
                </a:path>
              </a:pathLst>
            </a:custGeom>
            <a:solidFill>
              <a:schemeClr val="accent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23" name="Freeform 60">
              <a:extLst>
                <a:ext uri="{FF2B5EF4-FFF2-40B4-BE49-F238E27FC236}">
                  <a16:creationId xmlns:a16="http://schemas.microsoft.com/office/drawing/2014/main" id="{4105A4B4-5E8F-E947-AD25-FAA110BA7D30}"/>
                </a:ext>
              </a:extLst>
            </p:cNvPr>
            <p:cNvSpPr>
              <a:spLocks noChangeArrowheads="1"/>
            </p:cNvSpPr>
            <p:nvPr/>
          </p:nvSpPr>
          <p:spPr bwMode="auto">
            <a:xfrm>
              <a:off x="1322388" y="3937000"/>
              <a:ext cx="466725" cy="217488"/>
            </a:xfrm>
            <a:custGeom>
              <a:avLst/>
              <a:gdLst>
                <a:gd name="T0" fmla="*/ 1237 w 1297"/>
                <a:gd name="T1" fmla="*/ 139 h 605"/>
                <a:gd name="T2" fmla="*/ 942 w 1297"/>
                <a:gd name="T3" fmla="*/ 60 h 605"/>
                <a:gd name="T4" fmla="*/ 0 w 1297"/>
                <a:gd name="T5" fmla="*/ 604 h 605"/>
                <a:gd name="T6" fmla="*/ 864 w 1297"/>
                <a:gd name="T7" fmla="*/ 604 h 605"/>
                <a:gd name="T8" fmla="*/ 1158 w 1297"/>
                <a:gd name="T9" fmla="*/ 434 h 605"/>
                <a:gd name="T10" fmla="*/ 1237 w 1297"/>
                <a:gd name="T11" fmla="*/ 139 h 605"/>
              </a:gdLst>
              <a:ahLst/>
              <a:cxnLst>
                <a:cxn ang="0">
                  <a:pos x="T0" y="T1"/>
                </a:cxn>
                <a:cxn ang="0">
                  <a:pos x="T2" y="T3"/>
                </a:cxn>
                <a:cxn ang="0">
                  <a:pos x="T4" y="T5"/>
                </a:cxn>
                <a:cxn ang="0">
                  <a:pos x="T6" y="T7"/>
                </a:cxn>
                <a:cxn ang="0">
                  <a:pos x="T8" y="T9"/>
                </a:cxn>
                <a:cxn ang="0">
                  <a:pos x="T10" y="T11"/>
                </a:cxn>
              </a:cxnLst>
              <a:rect l="0" t="0" r="r" b="b"/>
              <a:pathLst>
                <a:path w="1297" h="605">
                  <a:moveTo>
                    <a:pt x="1237" y="139"/>
                  </a:moveTo>
                  <a:cubicBezTo>
                    <a:pt x="1177" y="36"/>
                    <a:pt x="1045" y="0"/>
                    <a:pt x="942" y="60"/>
                  </a:cubicBezTo>
                  <a:lnTo>
                    <a:pt x="0" y="604"/>
                  </a:lnTo>
                  <a:lnTo>
                    <a:pt x="864" y="604"/>
                  </a:lnTo>
                  <a:lnTo>
                    <a:pt x="1158" y="434"/>
                  </a:lnTo>
                  <a:cubicBezTo>
                    <a:pt x="1261" y="374"/>
                    <a:pt x="1296" y="242"/>
                    <a:pt x="1237" y="139"/>
                  </a:cubicBezTo>
                </a:path>
              </a:pathLst>
            </a:custGeom>
            <a:solidFill>
              <a:schemeClr val="accent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24" name="Freeform 61">
              <a:extLst>
                <a:ext uri="{FF2B5EF4-FFF2-40B4-BE49-F238E27FC236}">
                  <a16:creationId xmlns:a16="http://schemas.microsoft.com/office/drawing/2014/main" id="{D1F6682C-47E4-0942-8D63-0E7191B0FF86}"/>
                </a:ext>
              </a:extLst>
            </p:cNvPr>
            <p:cNvSpPr>
              <a:spLocks noChangeArrowheads="1"/>
            </p:cNvSpPr>
            <p:nvPr/>
          </p:nvSpPr>
          <p:spPr bwMode="auto">
            <a:xfrm>
              <a:off x="2116138" y="3849688"/>
              <a:ext cx="174625" cy="227012"/>
            </a:xfrm>
            <a:custGeom>
              <a:avLst/>
              <a:gdLst>
                <a:gd name="T0" fmla="*/ 0 w 484"/>
                <a:gd name="T1" fmla="*/ 352 h 632"/>
                <a:gd name="T2" fmla="*/ 132 w 484"/>
                <a:gd name="T3" fmla="*/ 453 h 632"/>
                <a:gd name="T4" fmla="*/ 153 w 484"/>
                <a:gd name="T5" fmla="*/ 617 h 632"/>
                <a:gd name="T6" fmla="*/ 317 w 484"/>
                <a:gd name="T7" fmla="*/ 595 h 632"/>
                <a:gd name="T8" fmla="*/ 483 w 484"/>
                <a:gd name="T9" fmla="*/ 499 h 632"/>
                <a:gd name="T10" fmla="*/ 483 w 484"/>
                <a:gd name="T11" fmla="*/ 0 h 632"/>
                <a:gd name="T12" fmla="*/ 101 w 484"/>
                <a:gd name="T13" fmla="*/ 221 h 632"/>
                <a:gd name="T14" fmla="*/ 0 w 484"/>
                <a:gd name="T15" fmla="*/ 352 h 6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4" h="632">
                  <a:moveTo>
                    <a:pt x="0" y="352"/>
                  </a:moveTo>
                  <a:cubicBezTo>
                    <a:pt x="54" y="366"/>
                    <a:pt x="102" y="401"/>
                    <a:pt x="132" y="453"/>
                  </a:cubicBezTo>
                  <a:cubicBezTo>
                    <a:pt x="161" y="504"/>
                    <a:pt x="167" y="563"/>
                    <a:pt x="153" y="617"/>
                  </a:cubicBezTo>
                  <a:cubicBezTo>
                    <a:pt x="207" y="631"/>
                    <a:pt x="265" y="625"/>
                    <a:pt x="317" y="595"/>
                  </a:cubicBezTo>
                  <a:lnTo>
                    <a:pt x="483" y="499"/>
                  </a:lnTo>
                  <a:lnTo>
                    <a:pt x="483" y="0"/>
                  </a:lnTo>
                  <a:lnTo>
                    <a:pt x="101" y="221"/>
                  </a:lnTo>
                  <a:cubicBezTo>
                    <a:pt x="49" y="251"/>
                    <a:pt x="15" y="299"/>
                    <a:pt x="0" y="352"/>
                  </a:cubicBezTo>
                </a:path>
              </a:pathLst>
            </a:custGeom>
            <a:solidFill>
              <a:schemeClr val="accent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25" name="Freeform 62">
              <a:extLst>
                <a:ext uri="{FF2B5EF4-FFF2-40B4-BE49-F238E27FC236}">
                  <a16:creationId xmlns:a16="http://schemas.microsoft.com/office/drawing/2014/main" id="{94070370-F758-A84C-984D-D4DFF7E63A47}"/>
                </a:ext>
              </a:extLst>
            </p:cNvPr>
            <p:cNvSpPr>
              <a:spLocks noChangeArrowheads="1"/>
            </p:cNvSpPr>
            <p:nvPr/>
          </p:nvSpPr>
          <p:spPr bwMode="auto">
            <a:xfrm>
              <a:off x="1639888" y="3576638"/>
              <a:ext cx="336550" cy="144462"/>
            </a:xfrm>
            <a:custGeom>
              <a:avLst/>
              <a:gdLst>
                <a:gd name="T0" fmla="*/ 50 w 934"/>
                <a:gd name="T1" fmla="*/ 260 h 400"/>
                <a:gd name="T2" fmla="*/ 345 w 934"/>
                <a:gd name="T3" fmla="*/ 339 h 400"/>
                <a:gd name="T4" fmla="*/ 933 w 934"/>
                <a:gd name="T5" fmla="*/ 0 h 400"/>
                <a:gd name="T6" fmla="*/ 84 w 934"/>
                <a:gd name="T7" fmla="*/ 0 h 400"/>
                <a:gd name="T8" fmla="*/ 50 w 934"/>
                <a:gd name="T9" fmla="*/ 260 h 400"/>
              </a:gdLst>
              <a:ahLst/>
              <a:cxnLst>
                <a:cxn ang="0">
                  <a:pos x="T0" y="T1"/>
                </a:cxn>
                <a:cxn ang="0">
                  <a:pos x="T2" y="T3"/>
                </a:cxn>
                <a:cxn ang="0">
                  <a:pos x="T4" y="T5"/>
                </a:cxn>
                <a:cxn ang="0">
                  <a:pos x="T6" y="T7"/>
                </a:cxn>
                <a:cxn ang="0">
                  <a:pos x="T8" y="T9"/>
                </a:cxn>
              </a:cxnLst>
              <a:rect l="0" t="0" r="r" b="b"/>
              <a:pathLst>
                <a:path w="934" h="400">
                  <a:moveTo>
                    <a:pt x="50" y="260"/>
                  </a:moveTo>
                  <a:cubicBezTo>
                    <a:pt x="109" y="363"/>
                    <a:pt x="241" y="399"/>
                    <a:pt x="345" y="339"/>
                  </a:cubicBezTo>
                  <a:lnTo>
                    <a:pt x="933" y="0"/>
                  </a:lnTo>
                  <a:lnTo>
                    <a:pt x="84" y="0"/>
                  </a:lnTo>
                  <a:cubicBezTo>
                    <a:pt x="16" y="67"/>
                    <a:pt x="0" y="174"/>
                    <a:pt x="50" y="260"/>
                  </a:cubicBezTo>
                </a:path>
              </a:pathLst>
            </a:custGeom>
            <a:solidFill>
              <a:schemeClr val="accent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26" name="Freeform 63">
              <a:extLst>
                <a:ext uri="{FF2B5EF4-FFF2-40B4-BE49-F238E27FC236}">
                  <a16:creationId xmlns:a16="http://schemas.microsoft.com/office/drawing/2014/main" id="{3A5E6721-838F-AD4D-A330-06A977A14263}"/>
                </a:ext>
              </a:extLst>
            </p:cNvPr>
            <p:cNvSpPr>
              <a:spLocks noChangeArrowheads="1"/>
            </p:cNvSpPr>
            <p:nvPr/>
          </p:nvSpPr>
          <p:spPr bwMode="auto">
            <a:xfrm>
              <a:off x="1260475" y="3829050"/>
              <a:ext cx="77788" cy="153988"/>
            </a:xfrm>
            <a:custGeom>
              <a:avLst/>
              <a:gdLst>
                <a:gd name="T0" fmla="*/ 154 w 215"/>
                <a:gd name="T1" fmla="*/ 105 h 427"/>
                <a:gd name="T2" fmla="*/ 0 w 215"/>
                <a:gd name="T3" fmla="*/ 0 h 427"/>
                <a:gd name="T4" fmla="*/ 0 w 215"/>
                <a:gd name="T5" fmla="*/ 66 h 427"/>
                <a:gd name="T6" fmla="*/ 98 w 215"/>
                <a:gd name="T7" fmla="*/ 137 h 427"/>
                <a:gd name="T8" fmla="*/ 43 w 215"/>
                <a:gd name="T9" fmla="*/ 343 h 427"/>
                <a:gd name="T10" fmla="*/ 0 w 215"/>
                <a:gd name="T11" fmla="*/ 359 h 427"/>
                <a:gd name="T12" fmla="*/ 0 w 215"/>
                <a:gd name="T13" fmla="*/ 426 h 427"/>
                <a:gd name="T14" fmla="*/ 75 w 215"/>
                <a:gd name="T15" fmla="*/ 400 h 427"/>
                <a:gd name="T16" fmla="*/ 154 w 215"/>
                <a:gd name="T17" fmla="*/ 105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5" h="427">
                  <a:moveTo>
                    <a:pt x="154" y="105"/>
                  </a:moveTo>
                  <a:cubicBezTo>
                    <a:pt x="120" y="47"/>
                    <a:pt x="63" y="10"/>
                    <a:pt x="0" y="0"/>
                  </a:cubicBezTo>
                  <a:lnTo>
                    <a:pt x="0" y="66"/>
                  </a:lnTo>
                  <a:cubicBezTo>
                    <a:pt x="41" y="75"/>
                    <a:pt x="77" y="100"/>
                    <a:pt x="98" y="137"/>
                  </a:cubicBezTo>
                  <a:cubicBezTo>
                    <a:pt x="139" y="209"/>
                    <a:pt x="115" y="301"/>
                    <a:pt x="43" y="343"/>
                  </a:cubicBezTo>
                  <a:cubicBezTo>
                    <a:pt x="29" y="351"/>
                    <a:pt x="15" y="356"/>
                    <a:pt x="0" y="359"/>
                  </a:cubicBezTo>
                  <a:lnTo>
                    <a:pt x="0" y="426"/>
                  </a:lnTo>
                  <a:cubicBezTo>
                    <a:pt x="26" y="422"/>
                    <a:pt x="51" y="413"/>
                    <a:pt x="75" y="400"/>
                  </a:cubicBezTo>
                  <a:cubicBezTo>
                    <a:pt x="179" y="340"/>
                    <a:pt x="214" y="208"/>
                    <a:pt x="154" y="105"/>
                  </a:cubicBezTo>
                </a:path>
              </a:pathLst>
            </a:custGeom>
            <a:solidFill>
              <a:schemeClr val="accent1">
                <a:alpha val="7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27" name="Freeform 64">
              <a:extLst>
                <a:ext uri="{FF2B5EF4-FFF2-40B4-BE49-F238E27FC236}">
                  <a16:creationId xmlns:a16="http://schemas.microsoft.com/office/drawing/2014/main" id="{72A1A936-A9A8-ED4D-990F-215D8E05EA07}"/>
                </a:ext>
              </a:extLst>
            </p:cNvPr>
            <p:cNvSpPr>
              <a:spLocks noChangeArrowheads="1"/>
            </p:cNvSpPr>
            <p:nvPr/>
          </p:nvSpPr>
          <p:spPr bwMode="auto">
            <a:xfrm>
              <a:off x="2011466" y="3970303"/>
              <a:ext cx="163513" cy="169863"/>
            </a:xfrm>
            <a:custGeom>
              <a:avLst/>
              <a:gdLst>
                <a:gd name="T0" fmla="*/ 324 w 456"/>
                <a:gd name="T1" fmla="*/ 178 h 470"/>
                <a:gd name="T2" fmla="*/ 302 w 456"/>
                <a:gd name="T3" fmla="*/ 14 h 470"/>
                <a:gd name="T4" fmla="*/ 139 w 456"/>
                <a:gd name="T5" fmla="*/ 36 h 470"/>
                <a:gd name="T6" fmla="*/ 60 w 456"/>
                <a:gd name="T7" fmla="*/ 331 h 470"/>
                <a:gd name="T8" fmla="*/ 355 w 456"/>
                <a:gd name="T9" fmla="*/ 410 h 470"/>
                <a:gd name="T10" fmla="*/ 455 w 456"/>
                <a:gd name="T11" fmla="*/ 279 h 470"/>
                <a:gd name="T12" fmla="*/ 324 w 456"/>
                <a:gd name="T13" fmla="*/ 178 h 470"/>
              </a:gdLst>
              <a:ahLst/>
              <a:cxnLst>
                <a:cxn ang="0">
                  <a:pos x="T0" y="T1"/>
                </a:cxn>
                <a:cxn ang="0">
                  <a:pos x="T2" y="T3"/>
                </a:cxn>
                <a:cxn ang="0">
                  <a:pos x="T4" y="T5"/>
                </a:cxn>
                <a:cxn ang="0">
                  <a:pos x="T6" y="T7"/>
                </a:cxn>
                <a:cxn ang="0">
                  <a:pos x="T8" y="T9"/>
                </a:cxn>
                <a:cxn ang="0">
                  <a:pos x="T10" y="T11"/>
                </a:cxn>
                <a:cxn ang="0">
                  <a:pos x="T12" y="T13"/>
                </a:cxn>
              </a:cxnLst>
              <a:rect l="0" t="0" r="r" b="b"/>
              <a:pathLst>
                <a:path w="456" h="470">
                  <a:moveTo>
                    <a:pt x="324" y="178"/>
                  </a:moveTo>
                  <a:cubicBezTo>
                    <a:pt x="294" y="126"/>
                    <a:pt x="288" y="67"/>
                    <a:pt x="302" y="14"/>
                  </a:cubicBezTo>
                  <a:cubicBezTo>
                    <a:pt x="249" y="0"/>
                    <a:pt x="190" y="6"/>
                    <a:pt x="139" y="36"/>
                  </a:cubicBezTo>
                  <a:cubicBezTo>
                    <a:pt x="35" y="95"/>
                    <a:pt x="0" y="228"/>
                    <a:pt x="60" y="331"/>
                  </a:cubicBezTo>
                  <a:cubicBezTo>
                    <a:pt x="119" y="435"/>
                    <a:pt x="251" y="469"/>
                    <a:pt x="355" y="410"/>
                  </a:cubicBezTo>
                  <a:cubicBezTo>
                    <a:pt x="406" y="380"/>
                    <a:pt x="441" y="332"/>
                    <a:pt x="455" y="279"/>
                  </a:cubicBezTo>
                  <a:cubicBezTo>
                    <a:pt x="402" y="264"/>
                    <a:pt x="354" y="230"/>
                    <a:pt x="324" y="178"/>
                  </a:cubicBezTo>
                </a:path>
              </a:pathLst>
            </a:custGeom>
            <a:solidFill>
              <a:schemeClr val="accent4">
                <a:alpha val="4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28" name="Freeform 65">
              <a:extLst>
                <a:ext uri="{FF2B5EF4-FFF2-40B4-BE49-F238E27FC236}">
                  <a16:creationId xmlns:a16="http://schemas.microsoft.com/office/drawing/2014/main" id="{6CFDFA04-DBD1-F941-A784-26A0CB719DC0}"/>
                </a:ext>
              </a:extLst>
            </p:cNvPr>
            <p:cNvSpPr>
              <a:spLocks noChangeArrowheads="1"/>
            </p:cNvSpPr>
            <p:nvPr/>
          </p:nvSpPr>
          <p:spPr bwMode="auto">
            <a:xfrm>
              <a:off x="2112569" y="3970303"/>
              <a:ext cx="69450" cy="101635"/>
            </a:xfrm>
            <a:custGeom>
              <a:avLst/>
              <a:gdLst>
                <a:gd name="T0" fmla="*/ 146 w 182"/>
                <a:gd name="T1" fmla="*/ 101 h 266"/>
                <a:gd name="T2" fmla="*/ 14 w 182"/>
                <a:gd name="T3" fmla="*/ 0 h 266"/>
                <a:gd name="T4" fmla="*/ 36 w 182"/>
                <a:gd name="T5" fmla="*/ 164 h 266"/>
                <a:gd name="T6" fmla="*/ 167 w 182"/>
                <a:gd name="T7" fmla="*/ 265 h 266"/>
                <a:gd name="T8" fmla="*/ 146 w 182"/>
                <a:gd name="T9" fmla="*/ 101 h 266"/>
              </a:gdLst>
              <a:ahLst/>
              <a:cxnLst>
                <a:cxn ang="0">
                  <a:pos x="T0" y="T1"/>
                </a:cxn>
                <a:cxn ang="0">
                  <a:pos x="T2" y="T3"/>
                </a:cxn>
                <a:cxn ang="0">
                  <a:pos x="T4" y="T5"/>
                </a:cxn>
                <a:cxn ang="0">
                  <a:pos x="T6" y="T7"/>
                </a:cxn>
                <a:cxn ang="0">
                  <a:pos x="T8" y="T9"/>
                </a:cxn>
              </a:cxnLst>
              <a:rect l="0" t="0" r="r" b="b"/>
              <a:pathLst>
                <a:path w="182" h="266">
                  <a:moveTo>
                    <a:pt x="146" y="101"/>
                  </a:moveTo>
                  <a:cubicBezTo>
                    <a:pt x="116" y="49"/>
                    <a:pt x="68" y="14"/>
                    <a:pt x="14" y="0"/>
                  </a:cubicBezTo>
                  <a:cubicBezTo>
                    <a:pt x="0" y="53"/>
                    <a:pt x="6" y="112"/>
                    <a:pt x="36" y="164"/>
                  </a:cubicBezTo>
                  <a:cubicBezTo>
                    <a:pt x="66" y="216"/>
                    <a:pt x="114" y="250"/>
                    <a:pt x="167" y="265"/>
                  </a:cubicBezTo>
                  <a:cubicBezTo>
                    <a:pt x="181" y="211"/>
                    <a:pt x="175" y="152"/>
                    <a:pt x="146" y="101"/>
                  </a:cubicBezTo>
                </a:path>
              </a:pathLst>
            </a:custGeom>
            <a:solidFill>
              <a:schemeClr val="accent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grpSp>
    </p:spTree>
    <p:extLst>
      <p:ext uri="{BB962C8B-B14F-4D97-AF65-F5344CB8AC3E}">
        <p14:creationId xmlns:p14="http://schemas.microsoft.com/office/powerpoint/2010/main" val="3007254161"/>
      </p:ext>
    </p:extLst>
  </p:cSld>
  <p:clrMapOvr>
    <a:masterClrMapping/>
  </p:clrMapOvr>
  <p:extLst>
    <p:ext uri="{DCECCB84-F9BA-43D5-87BE-67443E8EF086}">
      <p15:sldGuideLst xmlns:p15="http://schemas.microsoft.com/office/powerpoint/2012/main">
        <p15:guide id="1" pos="5382" userDrawn="1">
          <p15:clr>
            <a:srgbClr val="FBAE40"/>
          </p15:clr>
        </p15:guide>
        <p15:guide id="2" pos="846" userDrawn="1">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7F2257-7F00-4740-B1DF-8DC400199A04}"/>
              </a:ext>
            </a:extLst>
          </p:cNvPr>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GB"/>
              <a:t>Click to edit Master title style</a:t>
            </a:r>
            <a:endParaRPr/>
          </a:p>
        </p:txBody>
      </p:sp>
      <p:sp>
        <p:nvSpPr>
          <p:cNvPr id="3" name="Subtitle 2">
            <a:extLst>
              <a:ext uri="{FF2B5EF4-FFF2-40B4-BE49-F238E27FC236}">
                <a16:creationId xmlns:a16="http://schemas.microsoft.com/office/drawing/2014/main" id="{9984A054-82D9-FB4B-9D63-CCA89C283CA9}"/>
              </a:ext>
            </a:extLst>
          </p:cNvPr>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a:p>
        </p:txBody>
      </p:sp>
    </p:spTree>
    <p:extLst>
      <p:ext uri="{BB962C8B-B14F-4D97-AF65-F5344CB8AC3E}">
        <p14:creationId xmlns:p14="http://schemas.microsoft.com/office/powerpoint/2010/main" val="70438916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8640AF-2500-E942-9E2F-E86B3B7FC2D5}"/>
              </a:ext>
            </a:extLst>
          </p:cNvPr>
          <p:cNvSpPr>
            <a:spLocks noGrp="1"/>
          </p:cNvSpPr>
          <p:nvPr>
            <p:ph type="title"/>
          </p:nvPr>
        </p:nvSpPr>
        <p:spPr>
          <a:xfrm>
            <a:off x="838200" y="365125"/>
            <a:ext cx="10515600" cy="1325563"/>
          </a:xfrm>
          <a:prstGeom prst="rect">
            <a:avLst/>
          </a:prstGeom>
        </p:spPr>
        <p:txBody>
          <a:bodyPr/>
          <a:lstStyle/>
          <a:p>
            <a:r>
              <a:rPr lang="en-GB"/>
              <a:t>Click to edit Master title style</a:t>
            </a:r>
            <a:endParaRPr/>
          </a:p>
        </p:txBody>
      </p:sp>
      <p:sp>
        <p:nvSpPr>
          <p:cNvPr id="3" name="Content Placeholder 2">
            <a:extLst>
              <a:ext uri="{FF2B5EF4-FFF2-40B4-BE49-F238E27FC236}">
                <a16:creationId xmlns:a16="http://schemas.microsoft.com/office/drawing/2014/main" id="{87352115-859E-9A40-A568-82684DEC4FDD}"/>
              </a:ext>
            </a:extLst>
          </p:cNvPr>
          <p:cNvSpPr>
            <a:spLocks noGrp="1"/>
          </p:cNvSpPr>
          <p:nvPr>
            <p:ph idx="1"/>
          </p:nvPr>
        </p:nvSpPr>
        <p:spPr>
          <a:xfrm>
            <a:off x="838200" y="1825625"/>
            <a:ext cx="10515600" cy="4351338"/>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a:p>
        </p:txBody>
      </p:sp>
    </p:spTree>
    <p:extLst>
      <p:ext uri="{BB962C8B-B14F-4D97-AF65-F5344CB8AC3E}">
        <p14:creationId xmlns:p14="http://schemas.microsoft.com/office/powerpoint/2010/main" val="123325268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BE7DBF-8AFF-984E-835D-D91D17283AB6}"/>
              </a:ext>
            </a:extLst>
          </p:cNvPr>
          <p:cNvSpPr>
            <a:spLocks noGrp="1"/>
          </p:cNvSpPr>
          <p:nvPr>
            <p:ph type="title"/>
          </p:nvPr>
        </p:nvSpPr>
        <p:spPr>
          <a:xfrm>
            <a:off x="831850" y="1709738"/>
            <a:ext cx="10515600" cy="2852737"/>
          </a:xfrm>
          <a:prstGeom prst="rect">
            <a:avLst/>
          </a:prstGeom>
        </p:spPr>
        <p:txBody>
          <a:bodyPr anchor="b"/>
          <a:lstStyle>
            <a:lvl1pPr>
              <a:defRPr sz="6000"/>
            </a:lvl1pPr>
          </a:lstStyle>
          <a:p>
            <a:r>
              <a:rPr lang="en-GB"/>
              <a:t>Click to edit Master title style</a:t>
            </a:r>
            <a:endParaRPr/>
          </a:p>
        </p:txBody>
      </p:sp>
      <p:sp>
        <p:nvSpPr>
          <p:cNvPr id="3" name="Text Placeholder 2">
            <a:extLst>
              <a:ext uri="{FF2B5EF4-FFF2-40B4-BE49-F238E27FC236}">
                <a16:creationId xmlns:a16="http://schemas.microsoft.com/office/drawing/2014/main" id="{B1EF967C-8422-744C-8174-0AC2769BD47E}"/>
              </a:ext>
            </a:extLst>
          </p:cNvPr>
          <p:cNvSpPr>
            <a:spLocks noGrp="1"/>
          </p:cNvSpPr>
          <p:nvPr>
            <p:ph type="body" idx="1"/>
          </p:nvPr>
        </p:nvSpPr>
        <p:spPr>
          <a:xfrm>
            <a:off x="831850" y="4589463"/>
            <a:ext cx="105156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Tree>
    <p:extLst>
      <p:ext uri="{BB962C8B-B14F-4D97-AF65-F5344CB8AC3E}">
        <p14:creationId xmlns:p14="http://schemas.microsoft.com/office/powerpoint/2010/main" val="144497492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7AD4E5-2C93-D64F-BE06-1891B8110CA3}"/>
              </a:ext>
            </a:extLst>
          </p:cNvPr>
          <p:cNvSpPr>
            <a:spLocks noGrp="1"/>
          </p:cNvSpPr>
          <p:nvPr>
            <p:ph type="title"/>
          </p:nvPr>
        </p:nvSpPr>
        <p:spPr>
          <a:xfrm>
            <a:off x="838200" y="365125"/>
            <a:ext cx="10515600" cy="1325563"/>
          </a:xfrm>
          <a:prstGeom prst="rect">
            <a:avLst/>
          </a:prstGeom>
        </p:spPr>
        <p:txBody>
          <a:bodyPr/>
          <a:lstStyle/>
          <a:p>
            <a:r>
              <a:rPr lang="en-GB"/>
              <a:t>Click to edit Master title style</a:t>
            </a:r>
            <a:endParaRPr/>
          </a:p>
        </p:txBody>
      </p:sp>
      <p:sp>
        <p:nvSpPr>
          <p:cNvPr id="3" name="Content Placeholder 2">
            <a:extLst>
              <a:ext uri="{FF2B5EF4-FFF2-40B4-BE49-F238E27FC236}">
                <a16:creationId xmlns:a16="http://schemas.microsoft.com/office/drawing/2014/main" id="{3FA1B688-1C8C-CA4C-9BC4-8D95EAEC397C}"/>
              </a:ext>
            </a:extLst>
          </p:cNvPr>
          <p:cNvSpPr>
            <a:spLocks noGrp="1"/>
          </p:cNvSpPr>
          <p:nvPr>
            <p:ph sz="half" idx="1"/>
          </p:nvPr>
        </p:nvSpPr>
        <p:spPr>
          <a:xfrm>
            <a:off x="838200" y="1825625"/>
            <a:ext cx="5181600" cy="4351338"/>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a:p>
        </p:txBody>
      </p:sp>
      <p:sp>
        <p:nvSpPr>
          <p:cNvPr id="4" name="Content Placeholder 3">
            <a:extLst>
              <a:ext uri="{FF2B5EF4-FFF2-40B4-BE49-F238E27FC236}">
                <a16:creationId xmlns:a16="http://schemas.microsoft.com/office/drawing/2014/main" id="{522081CB-0F52-3242-ACBA-D2D58660F7EC}"/>
              </a:ext>
            </a:extLst>
          </p:cNvPr>
          <p:cNvSpPr>
            <a:spLocks noGrp="1"/>
          </p:cNvSpPr>
          <p:nvPr>
            <p:ph sz="half" idx="2"/>
          </p:nvPr>
        </p:nvSpPr>
        <p:spPr>
          <a:xfrm>
            <a:off x="6172200" y="1825625"/>
            <a:ext cx="5181600" cy="4351338"/>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a:p>
        </p:txBody>
      </p:sp>
    </p:spTree>
    <p:extLst>
      <p:ext uri="{BB962C8B-B14F-4D97-AF65-F5344CB8AC3E}">
        <p14:creationId xmlns:p14="http://schemas.microsoft.com/office/powerpoint/2010/main" val="26172245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A33C48-7364-A947-AF64-34DA43644B4D}"/>
              </a:ext>
            </a:extLst>
          </p:cNvPr>
          <p:cNvSpPr>
            <a:spLocks noGrp="1"/>
          </p:cNvSpPr>
          <p:nvPr>
            <p:ph type="title"/>
          </p:nvPr>
        </p:nvSpPr>
        <p:spPr>
          <a:xfrm>
            <a:off x="839788" y="365125"/>
            <a:ext cx="10515600" cy="1325563"/>
          </a:xfrm>
          <a:prstGeom prst="rect">
            <a:avLst/>
          </a:prstGeom>
        </p:spPr>
        <p:txBody>
          <a:bodyPr/>
          <a:lstStyle/>
          <a:p>
            <a:r>
              <a:rPr lang="en-GB"/>
              <a:t>Click to edit Master title style</a:t>
            </a:r>
            <a:endParaRPr/>
          </a:p>
        </p:txBody>
      </p:sp>
      <p:sp>
        <p:nvSpPr>
          <p:cNvPr id="3" name="Text Placeholder 2">
            <a:extLst>
              <a:ext uri="{FF2B5EF4-FFF2-40B4-BE49-F238E27FC236}">
                <a16:creationId xmlns:a16="http://schemas.microsoft.com/office/drawing/2014/main" id="{8386F16E-6688-8945-974A-73275B420F4A}"/>
              </a:ext>
            </a:extLst>
          </p:cNvPr>
          <p:cNvSpPr>
            <a:spLocks noGrp="1"/>
          </p:cNvSpPr>
          <p:nvPr>
            <p:ph type="body" idx="1"/>
          </p:nvPr>
        </p:nvSpPr>
        <p:spPr>
          <a:xfrm>
            <a:off x="839788" y="1681163"/>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578D753F-94CA-8742-9310-301A69A40A09}"/>
              </a:ext>
            </a:extLst>
          </p:cNvPr>
          <p:cNvSpPr>
            <a:spLocks noGrp="1"/>
          </p:cNvSpPr>
          <p:nvPr>
            <p:ph sz="half" idx="2"/>
          </p:nvPr>
        </p:nvSpPr>
        <p:spPr>
          <a:xfrm>
            <a:off x="839788" y="2505075"/>
            <a:ext cx="5157787" cy="3684588"/>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a:p>
        </p:txBody>
      </p:sp>
      <p:sp>
        <p:nvSpPr>
          <p:cNvPr id="5" name="Text Placeholder 4">
            <a:extLst>
              <a:ext uri="{FF2B5EF4-FFF2-40B4-BE49-F238E27FC236}">
                <a16:creationId xmlns:a16="http://schemas.microsoft.com/office/drawing/2014/main" id="{F58605C9-CA17-D54B-997C-E9E01DE67B81}"/>
              </a:ext>
            </a:extLst>
          </p:cNvPr>
          <p:cNvSpPr>
            <a:spLocks noGrp="1"/>
          </p:cNvSpPr>
          <p:nvPr>
            <p:ph type="body" sz="quarter" idx="3"/>
          </p:nvPr>
        </p:nvSpPr>
        <p:spPr>
          <a:xfrm>
            <a:off x="6172200" y="1681163"/>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84687078-AA2B-2242-B404-A8EB80F7C272}"/>
              </a:ext>
            </a:extLst>
          </p:cNvPr>
          <p:cNvSpPr>
            <a:spLocks noGrp="1"/>
          </p:cNvSpPr>
          <p:nvPr>
            <p:ph sz="quarter" idx="4"/>
          </p:nvPr>
        </p:nvSpPr>
        <p:spPr>
          <a:xfrm>
            <a:off x="6172200" y="2505075"/>
            <a:ext cx="5183188" cy="3684588"/>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a:p>
        </p:txBody>
      </p:sp>
    </p:spTree>
    <p:extLst>
      <p:ext uri="{BB962C8B-B14F-4D97-AF65-F5344CB8AC3E}">
        <p14:creationId xmlns:p14="http://schemas.microsoft.com/office/powerpoint/2010/main" val="107411842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1_Title Slide">
    <p:spTree>
      <p:nvGrpSpPr>
        <p:cNvPr id="1" name=""/>
        <p:cNvGrpSpPr/>
        <p:nvPr/>
      </p:nvGrpSpPr>
      <p:grpSpPr>
        <a:xfrm>
          <a:off x="0" y="0"/>
          <a:ext cx="0" cy="0"/>
          <a:chOff x="0" y="0"/>
          <a:chExt cx="0" cy="0"/>
        </a:xfrm>
      </p:grpSpPr>
      <p:sp>
        <p:nvSpPr>
          <p:cNvPr id="34" name="Oval 33">
            <a:extLst>
              <a:ext uri="{FF2B5EF4-FFF2-40B4-BE49-F238E27FC236}">
                <a16:creationId xmlns:a16="http://schemas.microsoft.com/office/drawing/2014/main" id="{207782AB-3D30-C047-96F3-D73DAD591A18}"/>
              </a:ext>
            </a:extLst>
          </p:cNvPr>
          <p:cNvSpPr/>
          <p:nvPr userDrawn="1"/>
        </p:nvSpPr>
        <p:spPr>
          <a:xfrm>
            <a:off x="7080612" y="972152"/>
            <a:ext cx="6722015" cy="6722015"/>
          </a:xfrm>
          <a:prstGeom prst="ellipse">
            <a:avLst/>
          </a:prstGeom>
          <a:gradFill>
            <a:gsLst>
              <a:gs pos="0">
                <a:schemeClr val="accent3"/>
              </a:gs>
              <a:gs pos="92000">
                <a:schemeClr val="accent3">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5" name="Rectangle: Rounded Corners 61">
            <a:extLst>
              <a:ext uri="{FF2B5EF4-FFF2-40B4-BE49-F238E27FC236}">
                <a16:creationId xmlns:a16="http://schemas.microsoft.com/office/drawing/2014/main" id="{25A3A0C1-9A20-F344-9FF8-81AF11160D84}"/>
              </a:ext>
            </a:extLst>
          </p:cNvPr>
          <p:cNvSpPr/>
          <p:nvPr userDrawn="1"/>
        </p:nvSpPr>
        <p:spPr>
          <a:xfrm>
            <a:off x="6698190" y="5130265"/>
            <a:ext cx="438169" cy="438169"/>
          </a:xfrm>
          <a:prstGeom prst="roundRect">
            <a:avLst>
              <a:gd name="adj" fmla="val 50000"/>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6" name="Oval 35">
            <a:extLst>
              <a:ext uri="{FF2B5EF4-FFF2-40B4-BE49-F238E27FC236}">
                <a16:creationId xmlns:a16="http://schemas.microsoft.com/office/drawing/2014/main" id="{EF7B21E8-68CB-AC48-ABC4-65CF7BDB5FD6}"/>
              </a:ext>
            </a:extLst>
          </p:cNvPr>
          <p:cNvSpPr/>
          <p:nvPr userDrawn="1"/>
        </p:nvSpPr>
        <p:spPr>
          <a:xfrm>
            <a:off x="8653112" y="1745755"/>
            <a:ext cx="211756" cy="21175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8" name="Rectangle: Rounded Corners 38">
            <a:extLst>
              <a:ext uri="{FF2B5EF4-FFF2-40B4-BE49-F238E27FC236}">
                <a16:creationId xmlns:a16="http://schemas.microsoft.com/office/drawing/2014/main" id="{0A86B392-69C2-B740-BFB0-6F21101F10F3}"/>
              </a:ext>
            </a:extLst>
          </p:cNvPr>
          <p:cNvSpPr/>
          <p:nvPr userDrawn="1"/>
        </p:nvSpPr>
        <p:spPr>
          <a:xfrm>
            <a:off x="9912939" y="395828"/>
            <a:ext cx="907144" cy="910492"/>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0" name="Rectangle: Rounded Corners 48">
            <a:extLst>
              <a:ext uri="{FF2B5EF4-FFF2-40B4-BE49-F238E27FC236}">
                <a16:creationId xmlns:a16="http://schemas.microsoft.com/office/drawing/2014/main" id="{FD426F3F-6192-274D-B3C4-5AA92DA32089}"/>
              </a:ext>
            </a:extLst>
          </p:cNvPr>
          <p:cNvSpPr/>
          <p:nvPr userDrawn="1"/>
        </p:nvSpPr>
        <p:spPr>
          <a:xfrm rot="3600000">
            <a:off x="11627782" y="1271411"/>
            <a:ext cx="399797" cy="1806644"/>
          </a:xfrm>
          <a:prstGeom prst="roundRect">
            <a:avLst>
              <a:gd name="adj" fmla="val 50000"/>
            </a:avLst>
          </a:prstGeom>
          <a:gradFill>
            <a:gsLst>
              <a:gs pos="100000">
                <a:schemeClr val="accent6">
                  <a:alpha val="20000"/>
                </a:schemeClr>
              </a:gs>
              <a:gs pos="63000">
                <a:schemeClr val="accent6"/>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1" name="Rectangle: Rounded Corners 51">
            <a:extLst>
              <a:ext uri="{FF2B5EF4-FFF2-40B4-BE49-F238E27FC236}">
                <a16:creationId xmlns:a16="http://schemas.microsoft.com/office/drawing/2014/main" id="{42B77CBB-C390-4E40-82A9-690AED2EBE48}"/>
              </a:ext>
            </a:extLst>
          </p:cNvPr>
          <p:cNvSpPr/>
          <p:nvPr userDrawn="1"/>
        </p:nvSpPr>
        <p:spPr>
          <a:xfrm rot="3600000">
            <a:off x="9620008" y="1541458"/>
            <a:ext cx="1712808" cy="4919450"/>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4" name="Rectangle: Rounded Corners 62">
            <a:extLst>
              <a:ext uri="{FF2B5EF4-FFF2-40B4-BE49-F238E27FC236}">
                <a16:creationId xmlns:a16="http://schemas.microsoft.com/office/drawing/2014/main" id="{0EDB1803-93B8-6049-A2E7-70A8BAAAC3B7}"/>
              </a:ext>
            </a:extLst>
          </p:cNvPr>
          <p:cNvSpPr/>
          <p:nvPr userDrawn="1"/>
        </p:nvSpPr>
        <p:spPr>
          <a:xfrm rot="3600000">
            <a:off x="10980472" y="4823860"/>
            <a:ext cx="1171773" cy="4093158"/>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5" name="Rectangle: Rounded Corners 64">
            <a:extLst>
              <a:ext uri="{FF2B5EF4-FFF2-40B4-BE49-F238E27FC236}">
                <a16:creationId xmlns:a16="http://schemas.microsoft.com/office/drawing/2014/main" id="{ECE091A1-0AA6-E748-AE75-31EC65029053}"/>
              </a:ext>
            </a:extLst>
          </p:cNvPr>
          <p:cNvSpPr/>
          <p:nvPr userDrawn="1"/>
        </p:nvSpPr>
        <p:spPr>
          <a:xfrm>
            <a:off x="10536197" y="5626626"/>
            <a:ext cx="2002934" cy="2002934"/>
          </a:xfrm>
          <a:prstGeom prst="roundRect">
            <a:avLst>
              <a:gd name="adj" fmla="val 50000"/>
            </a:avLst>
          </a:prstGeom>
          <a:solidFill>
            <a:schemeClr val="accent1"/>
          </a:solidFill>
          <a:ln>
            <a:noFill/>
          </a:ln>
          <a:effectLst>
            <a:softEdge rad="635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46" name="Picture 45" descr="A picture containing person, indoor, staring&#10;&#10;Description automatically generated">
            <a:extLst>
              <a:ext uri="{FF2B5EF4-FFF2-40B4-BE49-F238E27FC236}">
                <a16:creationId xmlns:a16="http://schemas.microsoft.com/office/drawing/2014/main" id="{FCDF4DD9-94F9-2745-92C9-83B0119EC62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756468" y="-27384"/>
            <a:ext cx="7532220" cy="6858000"/>
          </a:xfrm>
          <a:prstGeom prst="rect">
            <a:avLst/>
          </a:prstGeom>
        </p:spPr>
      </p:pic>
      <p:sp>
        <p:nvSpPr>
          <p:cNvPr id="47" name="Rectangle: Rounded Corners 55">
            <a:extLst>
              <a:ext uri="{FF2B5EF4-FFF2-40B4-BE49-F238E27FC236}">
                <a16:creationId xmlns:a16="http://schemas.microsoft.com/office/drawing/2014/main" id="{B980E7A7-EDB7-DC4A-A190-6FC92E5BEDDE}"/>
              </a:ext>
            </a:extLst>
          </p:cNvPr>
          <p:cNvSpPr/>
          <p:nvPr userDrawn="1"/>
        </p:nvSpPr>
        <p:spPr>
          <a:xfrm rot="3600000">
            <a:off x="10729632" y="3249715"/>
            <a:ext cx="1947486" cy="4368671"/>
          </a:xfrm>
          <a:prstGeom prst="roundRect">
            <a:avLst>
              <a:gd name="adj" fmla="val 50000"/>
            </a:avLst>
          </a:prstGeom>
          <a:gradFill>
            <a:gsLst>
              <a:gs pos="86000">
                <a:schemeClr val="accent1">
                  <a:alpha val="0"/>
                </a:schemeClr>
              </a:gs>
              <a:gs pos="53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8" name="Rectangle: Rounded Corners 56">
            <a:extLst>
              <a:ext uri="{FF2B5EF4-FFF2-40B4-BE49-F238E27FC236}">
                <a16:creationId xmlns:a16="http://schemas.microsoft.com/office/drawing/2014/main" id="{CF427D3D-4798-B64D-AB39-7E2C23B4E12B}"/>
              </a:ext>
            </a:extLst>
          </p:cNvPr>
          <p:cNvSpPr/>
          <p:nvPr userDrawn="1"/>
        </p:nvSpPr>
        <p:spPr>
          <a:xfrm rot="3600000">
            <a:off x="8505277" y="3170300"/>
            <a:ext cx="2869353" cy="5267802"/>
          </a:xfrm>
          <a:prstGeom prst="roundRect">
            <a:avLst>
              <a:gd name="adj" fmla="val 50000"/>
            </a:avLst>
          </a:prstGeom>
          <a:gradFill>
            <a:gsLst>
              <a:gs pos="100000">
                <a:schemeClr val="accent6">
                  <a:alpha val="13000"/>
                </a:schemeClr>
              </a:gs>
              <a:gs pos="42000">
                <a:schemeClr val="accent6"/>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8" name="Oval 67">
            <a:extLst>
              <a:ext uri="{FF2B5EF4-FFF2-40B4-BE49-F238E27FC236}">
                <a16:creationId xmlns:a16="http://schemas.microsoft.com/office/drawing/2014/main" id="{B75C0574-6920-9A4E-AB2B-389E9D63F0FB}"/>
              </a:ext>
            </a:extLst>
          </p:cNvPr>
          <p:cNvSpPr/>
          <p:nvPr userDrawn="1"/>
        </p:nvSpPr>
        <p:spPr>
          <a:xfrm>
            <a:off x="6429676" y="5645977"/>
            <a:ext cx="3728274" cy="3728274"/>
          </a:xfrm>
          <a:prstGeom prst="ellipse">
            <a:avLst/>
          </a:prstGeom>
          <a:solidFill>
            <a:schemeClr val="accent6">
              <a:alpha val="94000"/>
            </a:schemeClr>
          </a:solidFill>
          <a:ln>
            <a:noFill/>
          </a:ln>
          <a:effectLst>
            <a:softEdge rad="6223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9" name="Rectangle: Rounded Corners 57">
            <a:extLst>
              <a:ext uri="{FF2B5EF4-FFF2-40B4-BE49-F238E27FC236}">
                <a16:creationId xmlns:a16="http://schemas.microsoft.com/office/drawing/2014/main" id="{2D5D549F-5EB3-A242-9E64-0FD4EA869455}"/>
              </a:ext>
            </a:extLst>
          </p:cNvPr>
          <p:cNvSpPr/>
          <p:nvPr userDrawn="1"/>
        </p:nvSpPr>
        <p:spPr>
          <a:xfrm rot="3600000">
            <a:off x="5154247" y="5537470"/>
            <a:ext cx="937075" cy="3270305"/>
          </a:xfrm>
          <a:prstGeom prst="roundRect">
            <a:avLst>
              <a:gd name="adj" fmla="val 50000"/>
            </a:avLst>
          </a:prstGeom>
          <a:gradFill>
            <a:gsLst>
              <a:gs pos="86000">
                <a:schemeClr val="accent3">
                  <a:alpha val="0"/>
                </a:schemeClr>
              </a:gs>
              <a:gs pos="47000">
                <a:schemeClr val="accent3"/>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0" name="Oval 69">
            <a:extLst>
              <a:ext uri="{FF2B5EF4-FFF2-40B4-BE49-F238E27FC236}">
                <a16:creationId xmlns:a16="http://schemas.microsoft.com/office/drawing/2014/main" id="{3CC2C0B2-E589-6346-B131-2F2AE56B1581}"/>
              </a:ext>
            </a:extLst>
          </p:cNvPr>
          <p:cNvSpPr/>
          <p:nvPr userDrawn="1"/>
        </p:nvSpPr>
        <p:spPr>
          <a:xfrm>
            <a:off x="8209800" y="6455583"/>
            <a:ext cx="1656096" cy="1656096"/>
          </a:xfrm>
          <a:prstGeom prst="ellipse">
            <a:avLst/>
          </a:prstGeom>
          <a:solidFill>
            <a:schemeClr val="accent3">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1" name="Oval 70">
            <a:extLst>
              <a:ext uri="{FF2B5EF4-FFF2-40B4-BE49-F238E27FC236}">
                <a16:creationId xmlns:a16="http://schemas.microsoft.com/office/drawing/2014/main" id="{28FC822E-2D46-B443-A3E5-02F0C2124040}"/>
              </a:ext>
            </a:extLst>
          </p:cNvPr>
          <p:cNvSpPr/>
          <p:nvPr userDrawn="1"/>
        </p:nvSpPr>
        <p:spPr>
          <a:xfrm>
            <a:off x="9548262" y="3911440"/>
            <a:ext cx="115502" cy="11550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2" name="Oval 71">
            <a:extLst>
              <a:ext uri="{FF2B5EF4-FFF2-40B4-BE49-F238E27FC236}">
                <a16:creationId xmlns:a16="http://schemas.microsoft.com/office/drawing/2014/main" id="{33F986C7-4838-7640-820E-1298AB1C612F}"/>
              </a:ext>
            </a:extLst>
          </p:cNvPr>
          <p:cNvSpPr/>
          <p:nvPr userDrawn="1"/>
        </p:nvSpPr>
        <p:spPr>
          <a:xfrm>
            <a:off x="11852375" y="6486487"/>
            <a:ext cx="147008" cy="147008"/>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9" name="Oval 78">
            <a:extLst>
              <a:ext uri="{FF2B5EF4-FFF2-40B4-BE49-F238E27FC236}">
                <a16:creationId xmlns:a16="http://schemas.microsoft.com/office/drawing/2014/main" id="{D6DCE3CD-221D-BA4C-9AC7-44578F263B34}"/>
              </a:ext>
            </a:extLst>
          </p:cNvPr>
          <p:cNvSpPr/>
          <p:nvPr userDrawn="1"/>
        </p:nvSpPr>
        <p:spPr>
          <a:xfrm>
            <a:off x="-1727090" y="2091517"/>
            <a:ext cx="2814158" cy="2814158"/>
          </a:xfrm>
          <a:prstGeom prst="ellipse">
            <a:avLst/>
          </a:prstGeom>
          <a:gradFill>
            <a:gsLst>
              <a:gs pos="0">
                <a:schemeClr val="accent3"/>
              </a:gs>
              <a:gs pos="92000">
                <a:schemeClr val="accent3">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27" name="Group 26">
            <a:extLst>
              <a:ext uri="{FF2B5EF4-FFF2-40B4-BE49-F238E27FC236}">
                <a16:creationId xmlns:a16="http://schemas.microsoft.com/office/drawing/2014/main" id="{4372E7A8-5AA3-7F44-84D2-231D6DB562C4}"/>
              </a:ext>
            </a:extLst>
          </p:cNvPr>
          <p:cNvGrpSpPr/>
          <p:nvPr userDrawn="1"/>
        </p:nvGrpSpPr>
        <p:grpSpPr>
          <a:xfrm>
            <a:off x="471601" y="443753"/>
            <a:ext cx="1087896" cy="425720"/>
            <a:chOff x="3562350" y="3567113"/>
            <a:chExt cx="3476625" cy="1360487"/>
          </a:xfrm>
          <a:solidFill>
            <a:schemeClr val="accent1"/>
          </a:solidFill>
        </p:grpSpPr>
        <p:sp>
          <p:nvSpPr>
            <p:cNvPr id="28" name="Freeform 1">
              <a:extLst>
                <a:ext uri="{FF2B5EF4-FFF2-40B4-BE49-F238E27FC236}">
                  <a16:creationId xmlns:a16="http://schemas.microsoft.com/office/drawing/2014/main" id="{3B4E8FD2-D921-F340-B9BF-050A71F9361F}"/>
                </a:ext>
              </a:extLst>
            </p:cNvPr>
            <p:cNvSpPr>
              <a:spLocks noChangeArrowheads="1"/>
            </p:cNvSpPr>
            <p:nvPr/>
          </p:nvSpPr>
          <p:spPr bwMode="auto">
            <a:xfrm>
              <a:off x="4710113" y="3800475"/>
              <a:ext cx="1136650" cy="1127125"/>
            </a:xfrm>
            <a:custGeom>
              <a:avLst/>
              <a:gdLst>
                <a:gd name="T0" fmla="*/ 10 w 3158"/>
                <a:gd name="T1" fmla="*/ 1539 h 3130"/>
                <a:gd name="T2" fmla="*/ 1599 w 3158"/>
                <a:gd name="T3" fmla="*/ 13 h 3130"/>
                <a:gd name="T4" fmla="*/ 3148 w 3158"/>
                <a:gd name="T5" fmla="*/ 1584 h 3130"/>
                <a:gd name="T6" fmla="*/ 1560 w 3158"/>
                <a:gd name="T7" fmla="*/ 3116 h 3130"/>
                <a:gd name="T8" fmla="*/ 10 w 3158"/>
                <a:gd name="T9" fmla="*/ 1545 h 3130"/>
                <a:gd name="T10" fmla="*/ 10 w 3158"/>
                <a:gd name="T11" fmla="*/ 1539 h 3130"/>
                <a:gd name="T12" fmla="*/ 711 w 3158"/>
                <a:gd name="T13" fmla="*/ 1553 h 3130"/>
                <a:gd name="T14" fmla="*/ 1568 w 3158"/>
                <a:gd name="T15" fmla="*/ 2456 h 3130"/>
                <a:gd name="T16" fmla="*/ 2446 w 3158"/>
                <a:gd name="T17" fmla="*/ 1570 h 3130"/>
                <a:gd name="T18" fmla="*/ 1591 w 3158"/>
                <a:gd name="T19" fmla="*/ 662 h 3130"/>
                <a:gd name="T20" fmla="*/ 712 w 3158"/>
                <a:gd name="T21" fmla="*/ 1548 h 3130"/>
                <a:gd name="T22" fmla="*/ 711 w 3158"/>
                <a:gd name="T23" fmla="*/ 1553 h 3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58" h="3130">
                  <a:moveTo>
                    <a:pt x="10" y="1539"/>
                  </a:moveTo>
                  <a:cubicBezTo>
                    <a:pt x="19" y="790"/>
                    <a:pt x="578" y="0"/>
                    <a:pt x="1599" y="13"/>
                  </a:cubicBezTo>
                  <a:cubicBezTo>
                    <a:pt x="2619" y="26"/>
                    <a:pt x="3157" y="830"/>
                    <a:pt x="3148" y="1584"/>
                  </a:cubicBezTo>
                  <a:cubicBezTo>
                    <a:pt x="3138" y="2341"/>
                    <a:pt x="2579" y="3129"/>
                    <a:pt x="1560" y="3116"/>
                  </a:cubicBezTo>
                  <a:cubicBezTo>
                    <a:pt x="539" y="3104"/>
                    <a:pt x="0" y="2302"/>
                    <a:pt x="10" y="1545"/>
                  </a:cubicBezTo>
                  <a:lnTo>
                    <a:pt x="10" y="1539"/>
                  </a:lnTo>
                  <a:close/>
                  <a:moveTo>
                    <a:pt x="711" y="1553"/>
                  </a:moveTo>
                  <a:cubicBezTo>
                    <a:pt x="705" y="2065"/>
                    <a:pt x="1089" y="2451"/>
                    <a:pt x="1568" y="2456"/>
                  </a:cubicBezTo>
                  <a:cubicBezTo>
                    <a:pt x="2047" y="2462"/>
                    <a:pt x="2440" y="2087"/>
                    <a:pt x="2446" y="1570"/>
                  </a:cubicBezTo>
                  <a:cubicBezTo>
                    <a:pt x="2453" y="1054"/>
                    <a:pt x="2070" y="669"/>
                    <a:pt x="1591" y="662"/>
                  </a:cubicBezTo>
                  <a:cubicBezTo>
                    <a:pt x="1112" y="656"/>
                    <a:pt x="718" y="1032"/>
                    <a:pt x="712" y="1548"/>
                  </a:cubicBezTo>
                  <a:lnTo>
                    <a:pt x="711" y="1553"/>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a:p>
          </p:txBody>
        </p:sp>
        <p:sp>
          <p:nvSpPr>
            <p:cNvPr id="29" name="Freeform 2">
              <a:extLst>
                <a:ext uri="{FF2B5EF4-FFF2-40B4-BE49-F238E27FC236}">
                  <a16:creationId xmlns:a16="http://schemas.microsoft.com/office/drawing/2014/main" id="{9DDA27A7-D1EE-754A-A094-752234A40DC7}"/>
                </a:ext>
              </a:extLst>
            </p:cNvPr>
            <p:cNvSpPr>
              <a:spLocks noChangeArrowheads="1"/>
            </p:cNvSpPr>
            <p:nvPr/>
          </p:nvSpPr>
          <p:spPr bwMode="auto">
            <a:xfrm>
              <a:off x="5969000" y="3567113"/>
              <a:ext cx="455613" cy="1338262"/>
            </a:xfrm>
            <a:custGeom>
              <a:avLst/>
              <a:gdLst>
                <a:gd name="T0" fmla="*/ 971 w 1264"/>
                <a:gd name="T1" fmla="*/ 3165 h 3717"/>
                <a:gd name="T2" fmla="*/ 765 w 1264"/>
                <a:gd name="T3" fmla="*/ 2983 h 3717"/>
                <a:gd name="T4" fmla="*/ 803 w 1264"/>
                <a:gd name="T5" fmla="*/ 9 h 3717"/>
                <a:gd name="T6" fmla="*/ 101 w 1264"/>
                <a:gd name="T7" fmla="*/ 0 h 3717"/>
                <a:gd name="T8" fmla="*/ 64 w 1264"/>
                <a:gd name="T9" fmla="*/ 2965 h 3717"/>
                <a:gd name="T10" fmla="*/ 696 w 1264"/>
                <a:gd name="T11" fmla="*/ 3708 h 3717"/>
                <a:gd name="T12" fmla="*/ 696 w 1264"/>
                <a:gd name="T13" fmla="*/ 3709 h 3717"/>
                <a:gd name="T14" fmla="*/ 1256 w 1264"/>
                <a:gd name="T15" fmla="*/ 3716 h 3717"/>
                <a:gd name="T16" fmla="*/ 1263 w 1264"/>
                <a:gd name="T17" fmla="*/ 3168 h 3717"/>
                <a:gd name="T18" fmla="*/ 971 w 1264"/>
                <a:gd name="T19" fmla="*/ 3165 h 37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64" h="3717">
                  <a:moveTo>
                    <a:pt x="971" y="3165"/>
                  </a:moveTo>
                  <a:cubicBezTo>
                    <a:pt x="971" y="3165"/>
                    <a:pt x="768" y="3164"/>
                    <a:pt x="765" y="2983"/>
                  </a:cubicBezTo>
                  <a:lnTo>
                    <a:pt x="803" y="9"/>
                  </a:lnTo>
                  <a:lnTo>
                    <a:pt x="101" y="0"/>
                  </a:lnTo>
                  <a:lnTo>
                    <a:pt x="64" y="2965"/>
                  </a:lnTo>
                  <a:cubicBezTo>
                    <a:pt x="64" y="2965"/>
                    <a:pt x="0" y="3699"/>
                    <a:pt x="696" y="3708"/>
                  </a:cubicBezTo>
                  <a:lnTo>
                    <a:pt x="696" y="3709"/>
                  </a:lnTo>
                  <a:lnTo>
                    <a:pt x="1256" y="3716"/>
                  </a:lnTo>
                  <a:lnTo>
                    <a:pt x="1263" y="3168"/>
                  </a:lnTo>
                  <a:lnTo>
                    <a:pt x="971" y="316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a:p>
          </p:txBody>
        </p:sp>
        <p:sp>
          <p:nvSpPr>
            <p:cNvPr id="30" name="Freeform 3">
              <a:extLst>
                <a:ext uri="{FF2B5EF4-FFF2-40B4-BE49-F238E27FC236}">
                  <a16:creationId xmlns:a16="http://schemas.microsoft.com/office/drawing/2014/main" id="{6673803A-0F93-D44B-A735-F52E12F5E482}"/>
                </a:ext>
              </a:extLst>
            </p:cNvPr>
            <p:cNvSpPr>
              <a:spLocks noChangeArrowheads="1"/>
            </p:cNvSpPr>
            <p:nvPr/>
          </p:nvSpPr>
          <p:spPr bwMode="auto">
            <a:xfrm>
              <a:off x="3562350" y="3786188"/>
              <a:ext cx="1069975" cy="1127125"/>
            </a:xfrm>
            <a:custGeom>
              <a:avLst/>
              <a:gdLst>
                <a:gd name="T0" fmla="*/ 2366 w 2971"/>
                <a:gd name="T1" fmla="*/ 1976 h 3132"/>
                <a:gd name="T2" fmla="*/ 1569 w 2971"/>
                <a:gd name="T3" fmla="*/ 2468 h 3132"/>
                <a:gd name="T4" fmla="*/ 716 w 2971"/>
                <a:gd name="T5" fmla="*/ 1556 h 3132"/>
                <a:gd name="T6" fmla="*/ 966 w 2971"/>
                <a:gd name="T7" fmla="*/ 910 h 3132"/>
                <a:gd name="T8" fmla="*/ 1593 w 2971"/>
                <a:gd name="T9" fmla="*/ 667 h 3132"/>
                <a:gd name="T10" fmla="*/ 2376 w 2971"/>
                <a:gd name="T11" fmla="*/ 1201 h 3132"/>
                <a:gd name="T12" fmla="*/ 2970 w 2971"/>
                <a:gd name="T13" fmla="*/ 871 h 3132"/>
                <a:gd name="T14" fmla="*/ 1576 w 2971"/>
                <a:gd name="T15" fmla="*/ 12 h 3132"/>
                <a:gd name="T16" fmla="*/ 11 w 2971"/>
                <a:gd name="T17" fmla="*/ 1545 h 3132"/>
                <a:gd name="T18" fmla="*/ 1559 w 2971"/>
                <a:gd name="T19" fmla="*/ 3123 h 3132"/>
                <a:gd name="T20" fmla="*/ 2950 w 2971"/>
                <a:gd name="T21" fmla="*/ 2314 h 3132"/>
                <a:gd name="T22" fmla="*/ 2379 w 2971"/>
                <a:gd name="T23" fmla="*/ 1977 h 3132"/>
                <a:gd name="T24" fmla="*/ 2366 w 2971"/>
                <a:gd name="T25" fmla="*/ 1976 h 3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71" h="3132">
                  <a:moveTo>
                    <a:pt x="2366" y="1976"/>
                  </a:moveTo>
                  <a:cubicBezTo>
                    <a:pt x="2256" y="2216"/>
                    <a:pt x="2006" y="2472"/>
                    <a:pt x="1569" y="2468"/>
                  </a:cubicBezTo>
                  <a:cubicBezTo>
                    <a:pt x="1072" y="2462"/>
                    <a:pt x="710" y="2081"/>
                    <a:pt x="716" y="1556"/>
                  </a:cubicBezTo>
                  <a:cubicBezTo>
                    <a:pt x="720" y="1300"/>
                    <a:pt x="815" y="1064"/>
                    <a:pt x="966" y="910"/>
                  </a:cubicBezTo>
                  <a:cubicBezTo>
                    <a:pt x="1138" y="742"/>
                    <a:pt x="1337" y="657"/>
                    <a:pt x="1593" y="667"/>
                  </a:cubicBezTo>
                  <a:cubicBezTo>
                    <a:pt x="1976" y="670"/>
                    <a:pt x="2254" y="891"/>
                    <a:pt x="2376" y="1201"/>
                  </a:cubicBezTo>
                  <a:lnTo>
                    <a:pt x="2970" y="871"/>
                  </a:lnTo>
                  <a:cubicBezTo>
                    <a:pt x="2716" y="350"/>
                    <a:pt x="2184" y="19"/>
                    <a:pt x="1576" y="12"/>
                  </a:cubicBezTo>
                  <a:cubicBezTo>
                    <a:pt x="696" y="0"/>
                    <a:pt x="22" y="683"/>
                    <a:pt x="11" y="1545"/>
                  </a:cubicBezTo>
                  <a:cubicBezTo>
                    <a:pt x="0" y="2384"/>
                    <a:pt x="634" y="3111"/>
                    <a:pt x="1559" y="3123"/>
                  </a:cubicBezTo>
                  <a:cubicBezTo>
                    <a:pt x="2184" y="3131"/>
                    <a:pt x="2691" y="2793"/>
                    <a:pt x="2950" y="2314"/>
                  </a:cubicBezTo>
                  <a:lnTo>
                    <a:pt x="2379" y="1977"/>
                  </a:lnTo>
                  <a:lnTo>
                    <a:pt x="2366" y="197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a:p>
          </p:txBody>
        </p:sp>
        <p:sp>
          <p:nvSpPr>
            <p:cNvPr id="31" name="Freeform 4">
              <a:extLst>
                <a:ext uri="{FF2B5EF4-FFF2-40B4-BE49-F238E27FC236}">
                  <a16:creationId xmlns:a16="http://schemas.microsoft.com/office/drawing/2014/main" id="{41E91D8C-D855-3944-B0E9-54014903E808}"/>
                </a:ext>
              </a:extLst>
            </p:cNvPr>
            <p:cNvSpPr>
              <a:spLocks noChangeArrowheads="1"/>
            </p:cNvSpPr>
            <p:nvPr/>
          </p:nvSpPr>
          <p:spPr bwMode="auto">
            <a:xfrm>
              <a:off x="6546850" y="3575050"/>
              <a:ext cx="492125" cy="1338263"/>
            </a:xfrm>
            <a:custGeom>
              <a:avLst/>
              <a:gdLst>
                <a:gd name="T0" fmla="*/ 960 w 1365"/>
                <a:gd name="T1" fmla="*/ 3164 h 3718"/>
                <a:gd name="T2" fmla="*/ 753 w 1365"/>
                <a:gd name="T3" fmla="*/ 2983 h 3718"/>
                <a:gd name="T4" fmla="*/ 773 w 1365"/>
                <a:gd name="T5" fmla="*/ 1401 h 3718"/>
                <a:gd name="T6" fmla="*/ 1336 w 1365"/>
                <a:gd name="T7" fmla="*/ 1408 h 3718"/>
                <a:gd name="T8" fmla="*/ 1343 w 1365"/>
                <a:gd name="T9" fmla="*/ 860 h 3718"/>
                <a:gd name="T10" fmla="*/ 780 w 1365"/>
                <a:gd name="T11" fmla="*/ 853 h 3718"/>
                <a:gd name="T12" fmla="*/ 791 w 1365"/>
                <a:gd name="T13" fmla="*/ 9 h 3718"/>
                <a:gd name="T14" fmla="*/ 89 w 1365"/>
                <a:gd name="T15" fmla="*/ 0 h 3718"/>
                <a:gd name="T16" fmla="*/ 51 w 1365"/>
                <a:gd name="T17" fmla="*/ 2965 h 3718"/>
                <a:gd name="T18" fmla="*/ 683 w 1365"/>
                <a:gd name="T19" fmla="*/ 3708 h 3718"/>
                <a:gd name="T20" fmla="*/ 684 w 1365"/>
                <a:gd name="T21" fmla="*/ 3708 h 3718"/>
                <a:gd name="T22" fmla="*/ 1357 w 1365"/>
                <a:gd name="T23" fmla="*/ 3717 h 3718"/>
                <a:gd name="T24" fmla="*/ 1364 w 1365"/>
                <a:gd name="T25" fmla="*/ 3169 h 3718"/>
                <a:gd name="T26" fmla="*/ 960 w 1365"/>
                <a:gd name="T27" fmla="*/ 3164 h 3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65" h="3718">
                  <a:moveTo>
                    <a:pt x="960" y="3164"/>
                  </a:moveTo>
                  <a:cubicBezTo>
                    <a:pt x="960" y="3164"/>
                    <a:pt x="756" y="3164"/>
                    <a:pt x="753" y="2983"/>
                  </a:cubicBezTo>
                  <a:lnTo>
                    <a:pt x="773" y="1401"/>
                  </a:lnTo>
                  <a:lnTo>
                    <a:pt x="1336" y="1408"/>
                  </a:lnTo>
                  <a:lnTo>
                    <a:pt x="1343" y="860"/>
                  </a:lnTo>
                  <a:lnTo>
                    <a:pt x="780" y="853"/>
                  </a:lnTo>
                  <a:lnTo>
                    <a:pt x="791" y="9"/>
                  </a:lnTo>
                  <a:lnTo>
                    <a:pt x="89" y="0"/>
                  </a:lnTo>
                  <a:lnTo>
                    <a:pt x="51" y="2965"/>
                  </a:lnTo>
                  <a:cubicBezTo>
                    <a:pt x="51" y="2965"/>
                    <a:pt x="0" y="3701"/>
                    <a:pt x="683" y="3708"/>
                  </a:cubicBezTo>
                  <a:lnTo>
                    <a:pt x="684" y="3708"/>
                  </a:lnTo>
                  <a:lnTo>
                    <a:pt x="1357" y="3717"/>
                  </a:lnTo>
                  <a:lnTo>
                    <a:pt x="1364" y="3169"/>
                  </a:lnTo>
                  <a:lnTo>
                    <a:pt x="960" y="316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a:p>
          </p:txBody>
        </p:sp>
      </p:grpSp>
      <p:sp>
        <p:nvSpPr>
          <p:cNvPr id="32" name="Title 1">
            <a:extLst>
              <a:ext uri="{FF2B5EF4-FFF2-40B4-BE49-F238E27FC236}">
                <a16:creationId xmlns:a16="http://schemas.microsoft.com/office/drawing/2014/main" id="{4C3CECD4-2620-AA42-B581-B61EAED144C3}"/>
              </a:ext>
            </a:extLst>
          </p:cNvPr>
          <p:cNvSpPr>
            <a:spLocks noGrp="1"/>
          </p:cNvSpPr>
          <p:nvPr>
            <p:ph type="ctrTitle" hasCustomPrompt="1"/>
          </p:nvPr>
        </p:nvSpPr>
        <p:spPr>
          <a:xfrm>
            <a:off x="1343025" y="2286000"/>
            <a:ext cx="5616575" cy="1884008"/>
          </a:xfrm>
        </p:spPr>
        <p:txBody>
          <a:bodyPr>
            <a:normAutofit/>
          </a:bodyPr>
          <a:lstStyle>
            <a:lvl1pPr marL="0" indent="0" algn="l">
              <a:lnSpc>
                <a:spcPct val="100000"/>
              </a:lnSpc>
              <a:buFont typeface="Arial" panose="020B0604020202020204" pitchFamily="34" charset="0"/>
              <a:buNone/>
              <a:defRPr sz="5400" b="1" i="0" baseline="0">
                <a:solidFill>
                  <a:schemeClr val="accent1"/>
                </a:solidFill>
              </a:defRPr>
            </a:lvl1pPr>
          </a:lstStyle>
          <a:p>
            <a:r>
              <a:rPr lang="en-GB" dirty="0"/>
              <a:t>Title Slide</a:t>
            </a:r>
            <a:endParaRPr lang="en-GB" noProof="0" dirty="0"/>
          </a:p>
        </p:txBody>
      </p:sp>
      <p:sp>
        <p:nvSpPr>
          <p:cNvPr id="33" name="Subtitle 2">
            <a:extLst>
              <a:ext uri="{FF2B5EF4-FFF2-40B4-BE49-F238E27FC236}">
                <a16:creationId xmlns:a16="http://schemas.microsoft.com/office/drawing/2014/main" id="{068AC854-CFAE-164E-B5AC-0ED4133F40E6}"/>
              </a:ext>
            </a:extLst>
          </p:cNvPr>
          <p:cNvSpPr>
            <a:spLocks noGrp="1"/>
          </p:cNvSpPr>
          <p:nvPr>
            <p:ph type="subTitle" idx="1"/>
          </p:nvPr>
        </p:nvSpPr>
        <p:spPr>
          <a:xfrm>
            <a:off x="1343025" y="4170008"/>
            <a:ext cx="5597668" cy="1154381"/>
          </a:xfrm>
        </p:spPr>
        <p:txBody>
          <a:bodyPr>
            <a:normAutofit/>
          </a:bodyPr>
          <a:lstStyle>
            <a:lvl1pPr marL="0" indent="0" algn="l">
              <a:lnSpc>
                <a:spcPct val="100000"/>
              </a:lnSpc>
              <a:spcAft>
                <a:spcPts val="0"/>
              </a:spcAft>
              <a:buFont typeface="Arial" panose="020B0604020202020204" pitchFamily="34" charset="0"/>
              <a:buNone/>
              <a:defRPr sz="2800">
                <a:solidFill>
                  <a:schemeClr val="accent4"/>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Click to edit Master subtitle style</a:t>
            </a:r>
            <a:endParaRPr lang="en-GB" noProof="0" dirty="0"/>
          </a:p>
        </p:txBody>
      </p:sp>
      <p:sp>
        <p:nvSpPr>
          <p:cNvPr id="37" name="Date Placeholder 3">
            <a:extLst>
              <a:ext uri="{FF2B5EF4-FFF2-40B4-BE49-F238E27FC236}">
                <a16:creationId xmlns:a16="http://schemas.microsoft.com/office/drawing/2014/main" id="{3E9DEF06-B83C-E849-B7F8-C21D3A7AA76C}"/>
              </a:ext>
            </a:extLst>
          </p:cNvPr>
          <p:cNvSpPr>
            <a:spLocks noGrp="1"/>
          </p:cNvSpPr>
          <p:nvPr>
            <p:ph type="dt" sz="half" idx="10"/>
          </p:nvPr>
        </p:nvSpPr>
        <p:spPr>
          <a:xfrm>
            <a:off x="1343025" y="5324388"/>
            <a:ext cx="3776460" cy="339811"/>
          </a:xfrm>
          <a:prstGeom prst="rect">
            <a:avLst/>
          </a:prstGeom>
        </p:spPr>
        <p:txBody>
          <a:bodyPr lIns="0" anchor="t" anchorCtr="0"/>
          <a:lstStyle>
            <a:lvl1pPr>
              <a:lnSpc>
                <a:spcPts val="1590"/>
              </a:lnSpc>
              <a:defRPr sz="1410" b="1">
                <a:solidFill>
                  <a:schemeClr val="accent6"/>
                </a:solidFill>
              </a:defRPr>
            </a:lvl1pPr>
          </a:lstStyle>
          <a:p>
            <a:r>
              <a:rPr lang="en-GB" dirty="0"/>
              <a:t>Date</a:t>
            </a:r>
          </a:p>
        </p:txBody>
      </p:sp>
    </p:spTree>
    <p:extLst>
      <p:ext uri="{BB962C8B-B14F-4D97-AF65-F5344CB8AC3E}">
        <p14:creationId xmlns:p14="http://schemas.microsoft.com/office/powerpoint/2010/main" val="3004332299"/>
      </p:ext>
    </p:extLst>
  </p:cSld>
  <p:clrMapOvr>
    <a:masterClrMapping/>
  </p:clrMapOvr>
  <p:extLst>
    <p:ext uri="{DCECCB84-F9BA-43D5-87BE-67443E8EF086}">
      <p15:sldGuideLst xmlns:p15="http://schemas.microsoft.com/office/powerpoint/2012/main">
        <p15:guide id="1" orient="horz" pos="3703">
          <p15:clr>
            <a:srgbClr val="FBAE40"/>
          </p15:clr>
        </p15:guide>
        <p15:guide id="2" pos="4384">
          <p15:clr>
            <a:srgbClr val="FBAE40"/>
          </p15:clr>
        </p15:guide>
        <p15:guide id="3" pos="846">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042830-7398-AD48-BD4C-C5A14ED71AD8}"/>
              </a:ext>
            </a:extLst>
          </p:cNvPr>
          <p:cNvSpPr>
            <a:spLocks noGrp="1"/>
          </p:cNvSpPr>
          <p:nvPr>
            <p:ph type="title"/>
          </p:nvPr>
        </p:nvSpPr>
        <p:spPr>
          <a:xfrm>
            <a:off x="838200" y="365125"/>
            <a:ext cx="10515600" cy="1325563"/>
          </a:xfrm>
          <a:prstGeom prst="rect">
            <a:avLst/>
          </a:prstGeom>
        </p:spPr>
        <p:txBody>
          <a:bodyPr/>
          <a:lstStyle/>
          <a:p>
            <a:r>
              <a:rPr lang="en-GB"/>
              <a:t>Click to edit Master title style</a:t>
            </a:r>
            <a:endParaRPr/>
          </a:p>
        </p:txBody>
      </p:sp>
    </p:spTree>
    <p:extLst>
      <p:ext uri="{BB962C8B-B14F-4D97-AF65-F5344CB8AC3E}">
        <p14:creationId xmlns:p14="http://schemas.microsoft.com/office/powerpoint/2010/main" val="114344519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3578176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52AE6E-A948-F042-ACF3-761A36458FF4}"/>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GB"/>
              <a:t>Click to edit Master title style</a:t>
            </a:r>
            <a:endParaRPr/>
          </a:p>
        </p:txBody>
      </p:sp>
      <p:sp>
        <p:nvSpPr>
          <p:cNvPr id="3" name="Content Placeholder 2">
            <a:extLst>
              <a:ext uri="{FF2B5EF4-FFF2-40B4-BE49-F238E27FC236}">
                <a16:creationId xmlns:a16="http://schemas.microsoft.com/office/drawing/2014/main" id="{22248083-106C-2A49-8273-C70829CDE97B}"/>
              </a:ext>
            </a:extLst>
          </p:cNvPr>
          <p:cNvSpPr>
            <a:spLocks noGrp="1"/>
          </p:cNvSpPr>
          <p:nvPr>
            <p:ph idx="1"/>
          </p:nvPr>
        </p:nvSpPr>
        <p:spPr>
          <a:xfrm>
            <a:off x="5183188" y="987425"/>
            <a:ext cx="617220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a:p>
        </p:txBody>
      </p:sp>
      <p:sp>
        <p:nvSpPr>
          <p:cNvPr id="4" name="Text Placeholder 3">
            <a:extLst>
              <a:ext uri="{FF2B5EF4-FFF2-40B4-BE49-F238E27FC236}">
                <a16:creationId xmlns:a16="http://schemas.microsoft.com/office/drawing/2014/main" id="{1F1B48E2-D556-9F4F-961D-46FD26412B36}"/>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Tree>
    <p:extLst>
      <p:ext uri="{BB962C8B-B14F-4D97-AF65-F5344CB8AC3E}">
        <p14:creationId xmlns:p14="http://schemas.microsoft.com/office/powerpoint/2010/main" val="245458619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7F82E3-D68F-0740-A734-BF523D357CAA}"/>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GB"/>
              <a:t>Click to edit Master title style</a:t>
            </a:r>
            <a:endParaRPr/>
          </a:p>
        </p:txBody>
      </p:sp>
      <p:sp>
        <p:nvSpPr>
          <p:cNvPr id="3" name="Picture Placeholder 2">
            <a:extLst>
              <a:ext uri="{FF2B5EF4-FFF2-40B4-BE49-F238E27FC236}">
                <a16:creationId xmlns:a16="http://schemas.microsoft.com/office/drawing/2014/main" id="{5FBCDF16-BFF0-574E-87AD-52A4E25537D7}"/>
              </a:ext>
            </a:extLst>
          </p:cNvPr>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a:p>
        </p:txBody>
      </p:sp>
      <p:sp>
        <p:nvSpPr>
          <p:cNvPr id="4" name="Text Placeholder 3">
            <a:extLst>
              <a:ext uri="{FF2B5EF4-FFF2-40B4-BE49-F238E27FC236}">
                <a16:creationId xmlns:a16="http://schemas.microsoft.com/office/drawing/2014/main" id="{2373BFE7-0587-EB46-AC6B-4D81A09ABC31}"/>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Tree>
    <p:extLst>
      <p:ext uri="{BB962C8B-B14F-4D97-AF65-F5344CB8AC3E}">
        <p14:creationId xmlns:p14="http://schemas.microsoft.com/office/powerpoint/2010/main" val="277145126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F82748-0016-E94B-8F14-5FA50DCBE02C}"/>
              </a:ext>
            </a:extLst>
          </p:cNvPr>
          <p:cNvSpPr>
            <a:spLocks noGrp="1"/>
          </p:cNvSpPr>
          <p:nvPr>
            <p:ph type="title"/>
          </p:nvPr>
        </p:nvSpPr>
        <p:spPr>
          <a:xfrm>
            <a:off x="838200" y="365125"/>
            <a:ext cx="10515600" cy="1325563"/>
          </a:xfrm>
          <a:prstGeom prst="rect">
            <a:avLst/>
          </a:prstGeom>
        </p:spPr>
        <p:txBody>
          <a:bodyPr/>
          <a:lstStyle/>
          <a:p>
            <a:r>
              <a:rPr lang="en-GB"/>
              <a:t>Click to edit Master title style</a:t>
            </a:r>
            <a:endParaRPr/>
          </a:p>
        </p:txBody>
      </p:sp>
      <p:sp>
        <p:nvSpPr>
          <p:cNvPr id="3" name="Vertical Text Placeholder 2">
            <a:extLst>
              <a:ext uri="{FF2B5EF4-FFF2-40B4-BE49-F238E27FC236}">
                <a16:creationId xmlns:a16="http://schemas.microsoft.com/office/drawing/2014/main" id="{C068FE50-4F83-0F4D-9087-54A008D5C622}"/>
              </a:ext>
            </a:extLst>
          </p:cNvPr>
          <p:cNvSpPr>
            <a:spLocks noGrp="1"/>
          </p:cNvSpPr>
          <p:nvPr>
            <p:ph type="body" orient="vert" idx="1"/>
          </p:nvPr>
        </p:nvSpPr>
        <p:spPr>
          <a:xfrm>
            <a:off x="838200" y="1825625"/>
            <a:ext cx="10515600" cy="4351338"/>
          </a:xfrm>
          <a:prstGeom prst="rect">
            <a:avLst/>
          </a:prstGeo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a:p>
        </p:txBody>
      </p:sp>
    </p:spTree>
    <p:extLst>
      <p:ext uri="{BB962C8B-B14F-4D97-AF65-F5344CB8AC3E}">
        <p14:creationId xmlns:p14="http://schemas.microsoft.com/office/powerpoint/2010/main" val="199512306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9F6EC19-EC40-CB4A-9AB0-EF82D4E38161}"/>
              </a:ext>
            </a:extLst>
          </p:cNvPr>
          <p:cNvSpPr>
            <a:spLocks noGrp="1"/>
          </p:cNvSpPr>
          <p:nvPr>
            <p:ph type="title" orient="vert"/>
          </p:nvPr>
        </p:nvSpPr>
        <p:spPr>
          <a:xfrm>
            <a:off x="8724900" y="365125"/>
            <a:ext cx="2628900" cy="5811838"/>
          </a:xfrm>
          <a:prstGeom prst="rect">
            <a:avLst/>
          </a:prstGeom>
        </p:spPr>
        <p:txBody>
          <a:bodyPr vert="eaVert"/>
          <a:lstStyle/>
          <a:p>
            <a:r>
              <a:rPr lang="en-GB"/>
              <a:t>Click to edit Master title style</a:t>
            </a:r>
            <a:endParaRPr/>
          </a:p>
        </p:txBody>
      </p:sp>
      <p:sp>
        <p:nvSpPr>
          <p:cNvPr id="3" name="Vertical Text Placeholder 2">
            <a:extLst>
              <a:ext uri="{FF2B5EF4-FFF2-40B4-BE49-F238E27FC236}">
                <a16:creationId xmlns:a16="http://schemas.microsoft.com/office/drawing/2014/main" id="{8A9C317E-E0FA-7446-872A-D98BC8F70A49}"/>
              </a:ext>
            </a:extLst>
          </p:cNvPr>
          <p:cNvSpPr>
            <a:spLocks noGrp="1"/>
          </p:cNvSpPr>
          <p:nvPr>
            <p:ph type="body" orient="vert" idx="1"/>
          </p:nvPr>
        </p:nvSpPr>
        <p:spPr>
          <a:xfrm>
            <a:off x="838200" y="365125"/>
            <a:ext cx="7734300" cy="5811838"/>
          </a:xfrm>
          <a:prstGeom prst="rect">
            <a:avLst/>
          </a:prstGeo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a:p>
        </p:txBody>
      </p:sp>
    </p:spTree>
    <p:extLst>
      <p:ext uri="{BB962C8B-B14F-4D97-AF65-F5344CB8AC3E}">
        <p14:creationId xmlns:p14="http://schemas.microsoft.com/office/powerpoint/2010/main" val="211578640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4DE2BE-1E55-4CBB-AF1C-6949A5F3A0EE}"/>
              </a:ext>
            </a:extLst>
          </p:cNvPr>
          <p:cNvSpPr>
            <a:spLocks noGrp="1"/>
          </p:cNvSpPr>
          <p:nvPr>
            <p:ph type="title"/>
          </p:nvPr>
        </p:nvSpPr>
        <p:spPr/>
        <p:txBody>
          <a:bodyPr/>
          <a:lstStyle/>
          <a:p>
            <a:r>
              <a:rPr lang="en-US" dirty="0"/>
              <a:t>Click to edit Master title style</a:t>
            </a:r>
            <a:endParaRPr lang="en-GB" dirty="0"/>
          </a:p>
        </p:txBody>
      </p:sp>
      <p:sp>
        <p:nvSpPr>
          <p:cNvPr id="3" name="Content Placeholder 2">
            <a:extLst>
              <a:ext uri="{FF2B5EF4-FFF2-40B4-BE49-F238E27FC236}">
                <a16:creationId xmlns:a16="http://schemas.microsoft.com/office/drawing/2014/main" id="{CE1BC7D3-BAF4-4886-8107-DC6896636C1B}"/>
              </a:ext>
            </a:extLst>
          </p:cNvPr>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Slide Number Placeholder 5">
            <a:extLst>
              <a:ext uri="{FF2B5EF4-FFF2-40B4-BE49-F238E27FC236}">
                <a16:creationId xmlns:a16="http://schemas.microsoft.com/office/drawing/2014/main" id="{E952999F-5742-4BA1-AD85-6F5512D310F6}"/>
              </a:ext>
            </a:extLst>
          </p:cNvPr>
          <p:cNvSpPr>
            <a:spLocks noGrp="1"/>
          </p:cNvSpPr>
          <p:nvPr>
            <p:ph type="sldNum" sz="quarter" idx="12"/>
          </p:nvPr>
        </p:nvSpPr>
        <p:spPr>
          <a:xfrm>
            <a:off x="11278800" y="6400800"/>
            <a:ext cx="442800" cy="226800"/>
          </a:xfrm>
        </p:spPr>
        <p:txBody>
          <a:bodyPr vert="horz" lIns="0" tIns="0" rIns="0" bIns="0" rtlCol="0" anchor="t" anchorCtr="0">
            <a:noAutofit/>
          </a:bodyPr>
          <a:lstStyle>
            <a:lvl1pPr>
              <a:defRPr lang="en-GB" smtClean="0"/>
            </a:lvl1pPr>
          </a:lstStyle>
          <a:p>
            <a:pPr algn="r">
              <a:lnSpc>
                <a:spcPts val="970"/>
              </a:lnSpc>
            </a:pPr>
            <a:fld id="{24A935F8-6F02-46CF-898B-F9D6B7DB9D8E}" type="slidenum">
              <a:rPr lang="en-GB" smtClean="0"/>
              <a:pPr algn="r">
                <a:lnSpc>
                  <a:spcPts val="970"/>
                </a:lnSpc>
              </a:pPr>
              <a:t>‹#›</a:t>
            </a:fld>
            <a:endParaRPr lang="en-GB"/>
          </a:p>
        </p:txBody>
      </p:sp>
    </p:spTree>
    <p:extLst>
      <p:ext uri="{BB962C8B-B14F-4D97-AF65-F5344CB8AC3E}">
        <p14:creationId xmlns:p14="http://schemas.microsoft.com/office/powerpoint/2010/main" val="202809385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reserve="1">
  <p:cSld name="Agenda v1">
    <p:spTree>
      <p:nvGrpSpPr>
        <p:cNvPr id="1" name=""/>
        <p:cNvGrpSpPr/>
        <p:nvPr/>
      </p:nvGrpSpPr>
      <p:grpSpPr>
        <a:xfrm>
          <a:off x="0" y="0"/>
          <a:ext cx="0" cy="0"/>
          <a:chOff x="0" y="0"/>
          <a:chExt cx="0" cy="0"/>
        </a:xfrm>
      </p:grpSpPr>
      <p:sp>
        <p:nvSpPr>
          <p:cNvPr id="9" name="Freeform 121">
            <a:extLst>
              <a:ext uri="{FF2B5EF4-FFF2-40B4-BE49-F238E27FC236}">
                <a16:creationId xmlns:a16="http://schemas.microsoft.com/office/drawing/2014/main" id="{C400EB2C-77E2-47DD-BD49-274D28B48C75}"/>
              </a:ext>
            </a:extLst>
          </p:cNvPr>
          <p:cNvSpPr>
            <a:spLocks noChangeArrowheads="1"/>
          </p:cNvSpPr>
          <p:nvPr/>
        </p:nvSpPr>
        <p:spPr bwMode="auto">
          <a:xfrm>
            <a:off x="4111992" y="2450971"/>
            <a:ext cx="451556" cy="733784"/>
          </a:xfrm>
          <a:custGeom>
            <a:avLst/>
            <a:gdLst>
              <a:gd name="T0" fmla="*/ 99 w 107"/>
              <a:gd name="T1" fmla="*/ 171 h 172"/>
              <a:gd name="T2" fmla="*/ 82 w 107"/>
              <a:gd name="T3" fmla="*/ 67 h 172"/>
              <a:gd name="T4" fmla="*/ 0 w 107"/>
              <a:gd name="T5" fmla="*/ 0 h 172"/>
              <a:gd name="T6" fmla="*/ 29 w 107"/>
              <a:gd name="T7" fmla="*/ 98 h 172"/>
              <a:gd name="T8" fmla="*/ 99 w 107"/>
              <a:gd name="T9" fmla="*/ 171 h 172"/>
            </a:gdLst>
            <a:ahLst/>
            <a:cxnLst>
              <a:cxn ang="0">
                <a:pos x="T0" y="T1"/>
              </a:cxn>
              <a:cxn ang="0">
                <a:pos x="T2" y="T3"/>
              </a:cxn>
              <a:cxn ang="0">
                <a:pos x="T4" y="T5"/>
              </a:cxn>
              <a:cxn ang="0">
                <a:pos x="T6" y="T7"/>
              </a:cxn>
              <a:cxn ang="0">
                <a:pos x="T8" y="T9"/>
              </a:cxn>
            </a:cxnLst>
            <a:rect l="0" t="0" r="r" b="b"/>
            <a:pathLst>
              <a:path w="107" h="172">
                <a:moveTo>
                  <a:pt x="99" y="171"/>
                </a:moveTo>
                <a:cubicBezTo>
                  <a:pt x="106" y="137"/>
                  <a:pt x="101" y="100"/>
                  <a:pt x="82" y="67"/>
                </a:cubicBezTo>
                <a:cubicBezTo>
                  <a:pt x="63" y="35"/>
                  <a:pt x="34" y="12"/>
                  <a:pt x="0" y="0"/>
                </a:cubicBezTo>
                <a:cubicBezTo>
                  <a:pt x="2" y="33"/>
                  <a:pt x="11" y="67"/>
                  <a:pt x="29" y="98"/>
                </a:cubicBezTo>
                <a:cubicBezTo>
                  <a:pt x="47" y="129"/>
                  <a:pt x="71" y="153"/>
                  <a:pt x="99" y="171"/>
                </a:cubicBezTo>
              </a:path>
            </a:pathLst>
          </a:custGeom>
          <a:solidFill>
            <a:schemeClr val="accent3">
              <a:alpha val="4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0" name="Freeform 122">
            <a:extLst>
              <a:ext uri="{FF2B5EF4-FFF2-40B4-BE49-F238E27FC236}">
                <a16:creationId xmlns:a16="http://schemas.microsoft.com/office/drawing/2014/main" id="{0AEC132E-078C-4D8E-9E36-028C4AE75647}"/>
              </a:ext>
            </a:extLst>
          </p:cNvPr>
          <p:cNvSpPr>
            <a:spLocks noChangeArrowheads="1"/>
          </p:cNvSpPr>
          <p:nvPr/>
        </p:nvSpPr>
        <p:spPr bwMode="auto">
          <a:xfrm>
            <a:off x="4114895" y="1375617"/>
            <a:ext cx="1956741" cy="2013191"/>
          </a:xfrm>
          <a:custGeom>
            <a:avLst/>
            <a:gdLst>
              <a:gd name="T0" fmla="*/ 101 w 457"/>
              <a:gd name="T1" fmla="*/ 60 h 471"/>
              <a:gd name="T2" fmla="*/ 0 w 457"/>
              <a:gd name="T3" fmla="*/ 191 h 471"/>
              <a:gd name="T4" fmla="*/ 131 w 457"/>
              <a:gd name="T5" fmla="*/ 292 h 471"/>
              <a:gd name="T6" fmla="*/ 153 w 457"/>
              <a:gd name="T7" fmla="*/ 455 h 471"/>
              <a:gd name="T8" fmla="*/ 317 w 457"/>
              <a:gd name="T9" fmla="*/ 434 h 471"/>
              <a:gd name="T10" fmla="*/ 396 w 457"/>
              <a:gd name="T11" fmla="*/ 139 h 471"/>
              <a:gd name="T12" fmla="*/ 101 w 457"/>
              <a:gd name="T13" fmla="*/ 60 h 471"/>
            </a:gdLst>
            <a:ahLst/>
            <a:cxnLst>
              <a:cxn ang="0">
                <a:pos x="T0" y="T1"/>
              </a:cxn>
              <a:cxn ang="0">
                <a:pos x="T2" y="T3"/>
              </a:cxn>
              <a:cxn ang="0">
                <a:pos x="T4" y="T5"/>
              </a:cxn>
              <a:cxn ang="0">
                <a:pos x="T6" y="T7"/>
              </a:cxn>
              <a:cxn ang="0">
                <a:pos x="T8" y="T9"/>
              </a:cxn>
              <a:cxn ang="0">
                <a:pos x="T10" y="T11"/>
              </a:cxn>
              <a:cxn ang="0">
                <a:pos x="T12" y="T13"/>
              </a:cxn>
            </a:cxnLst>
            <a:rect l="0" t="0" r="r" b="b"/>
            <a:pathLst>
              <a:path w="457" h="471">
                <a:moveTo>
                  <a:pt x="101" y="60"/>
                </a:moveTo>
                <a:cubicBezTo>
                  <a:pt x="49" y="90"/>
                  <a:pt x="15" y="138"/>
                  <a:pt x="0" y="191"/>
                </a:cubicBezTo>
                <a:cubicBezTo>
                  <a:pt x="54" y="205"/>
                  <a:pt x="101" y="241"/>
                  <a:pt x="131" y="292"/>
                </a:cubicBezTo>
                <a:cubicBezTo>
                  <a:pt x="160" y="344"/>
                  <a:pt x="167" y="402"/>
                  <a:pt x="153" y="455"/>
                </a:cubicBezTo>
                <a:cubicBezTo>
                  <a:pt x="206" y="470"/>
                  <a:pt x="265" y="464"/>
                  <a:pt x="317" y="434"/>
                </a:cubicBezTo>
                <a:cubicBezTo>
                  <a:pt x="420" y="374"/>
                  <a:pt x="456" y="242"/>
                  <a:pt x="396" y="139"/>
                </a:cubicBezTo>
                <a:cubicBezTo>
                  <a:pt x="336" y="36"/>
                  <a:pt x="204" y="0"/>
                  <a:pt x="101" y="60"/>
                </a:cubicBezTo>
              </a:path>
            </a:pathLst>
          </a:custGeom>
          <a:solidFill>
            <a:schemeClr val="accent3">
              <a:alpha val="40000"/>
            </a:schemeClr>
          </a:solidFill>
          <a:ln w="9525" cap="flat">
            <a:no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1" name="Freeform 123">
            <a:extLst>
              <a:ext uri="{FF2B5EF4-FFF2-40B4-BE49-F238E27FC236}">
                <a16:creationId xmlns:a16="http://schemas.microsoft.com/office/drawing/2014/main" id="{84CDA851-AAD8-447D-A1C1-EF2FB139299E}"/>
              </a:ext>
            </a:extLst>
          </p:cNvPr>
          <p:cNvSpPr>
            <a:spLocks noChangeArrowheads="1"/>
          </p:cNvSpPr>
          <p:nvPr/>
        </p:nvSpPr>
        <p:spPr bwMode="auto">
          <a:xfrm>
            <a:off x="-8459" y="3316452"/>
            <a:ext cx="2709334" cy="3066821"/>
          </a:xfrm>
          <a:custGeom>
            <a:avLst/>
            <a:gdLst>
              <a:gd name="T0" fmla="*/ 572 w 633"/>
              <a:gd name="T1" fmla="*/ 139 h 719"/>
              <a:gd name="T2" fmla="*/ 277 w 633"/>
              <a:gd name="T3" fmla="*/ 60 h 719"/>
              <a:gd name="T4" fmla="*/ 0 w 633"/>
              <a:gd name="T5" fmla="*/ 219 h 719"/>
              <a:gd name="T6" fmla="*/ 0 w 633"/>
              <a:gd name="T7" fmla="*/ 718 h 719"/>
              <a:gd name="T8" fmla="*/ 493 w 633"/>
              <a:gd name="T9" fmla="*/ 434 h 719"/>
              <a:gd name="T10" fmla="*/ 572 w 633"/>
              <a:gd name="T11" fmla="*/ 139 h 719"/>
            </a:gdLst>
            <a:ahLst/>
            <a:cxnLst>
              <a:cxn ang="0">
                <a:pos x="T0" y="T1"/>
              </a:cxn>
              <a:cxn ang="0">
                <a:pos x="T2" y="T3"/>
              </a:cxn>
              <a:cxn ang="0">
                <a:pos x="T4" y="T5"/>
              </a:cxn>
              <a:cxn ang="0">
                <a:pos x="T6" y="T7"/>
              </a:cxn>
              <a:cxn ang="0">
                <a:pos x="T8" y="T9"/>
              </a:cxn>
              <a:cxn ang="0">
                <a:pos x="T10" y="T11"/>
              </a:cxn>
            </a:cxnLst>
            <a:rect l="0" t="0" r="r" b="b"/>
            <a:pathLst>
              <a:path w="633" h="719">
                <a:moveTo>
                  <a:pt x="572" y="139"/>
                </a:moveTo>
                <a:cubicBezTo>
                  <a:pt x="512" y="35"/>
                  <a:pt x="380" y="0"/>
                  <a:pt x="277" y="60"/>
                </a:cubicBezTo>
                <a:lnTo>
                  <a:pt x="0" y="219"/>
                </a:lnTo>
                <a:lnTo>
                  <a:pt x="0" y="718"/>
                </a:lnTo>
                <a:lnTo>
                  <a:pt x="493" y="434"/>
                </a:lnTo>
                <a:cubicBezTo>
                  <a:pt x="596" y="374"/>
                  <a:pt x="632" y="242"/>
                  <a:pt x="572" y="139"/>
                </a:cubicBezTo>
              </a:path>
            </a:pathLst>
          </a:custGeom>
          <a:solidFill>
            <a:schemeClr val="accent3"/>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5" name="Freeform: Shape 14">
            <a:extLst>
              <a:ext uri="{FF2B5EF4-FFF2-40B4-BE49-F238E27FC236}">
                <a16:creationId xmlns:a16="http://schemas.microsoft.com/office/drawing/2014/main" id="{C7C606A3-42F1-4591-B74F-28EA466C0615}"/>
              </a:ext>
            </a:extLst>
          </p:cNvPr>
          <p:cNvSpPr>
            <a:spLocks noChangeArrowheads="1"/>
          </p:cNvSpPr>
          <p:nvPr/>
        </p:nvSpPr>
        <p:spPr bwMode="auto">
          <a:xfrm>
            <a:off x="2980591" y="2149933"/>
            <a:ext cx="1831763" cy="1839584"/>
          </a:xfrm>
          <a:custGeom>
            <a:avLst/>
            <a:gdLst>
              <a:gd name="connsiteX0" fmla="*/ 916265 w 1831763"/>
              <a:gd name="connsiteY0" fmla="*/ 277432 h 1839584"/>
              <a:gd name="connsiteX1" fmla="*/ 597526 w 1831763"/>
              <a:gd name="connsiteY1" fmla="*/ 362795 h 1839584"/>
              <a:gd name="connsiteX2" fmla="*/ 300037 w 1831763"/>
              <a:gd name="connsiteY2" fmla="*/ 755467 h 1839584"/>
              <a:gd name="connsiteX3" fmla="*/ 363785 w 1831763"/>
              <a:gd name="connsiteY3" fmla="*/ 1242039 h 1839584"/>
              <a:gd name="connsiteX4" fmla="*/ 920515 w 1831763"/>
              <a:gd name="connsiteY4" fmla="*/ 1562153 h 1839584"/>
              <a:gd name="connsiteX5" fmla="*/ 1239254 w 1831763"/>
              <a:gd name="connsiteY5" fmla="*/ 1476789 h 1839584"/>
              <a:gd name="connsiteX6" fmla="*/ 1506397 w 1831763"/>
              <a:gd name="connsiteY6" fmla="*/ 1171281 h 1839584"/>
              <a:gd name="connsiteX7" fmla="*/ 1543782 w 1831763"/>
              <a:gd name="connsiteY7" fmla="*/ 1046321 h 1839584"/>
              <a:gd name="connsiteX8" fmla="*/ 1540190 w 1831763"/>
              <a:gd name="connsiteY8" fmla="*/ 1044336 h 1839584"/>
              <a:gd name="connsiteX9" fmla="*/ 1467496 w 1831763"/>
              <a:gd name="connsiteY9" fmla="*/ 601301 h 1839584"/>
              <a:gd name="connsiteX10" fmla="*/ 1116856 w 1831763"/>
              <a:gd name="connsiteY10" fmla="*/ 315883 h 1839584"/>
              <a:gd name="connsiteX11" fmla="*/ 1117087 w 1831763"/>
              <a:gd name="connsiteY11" fmla="*/ 309733 h 1839584"/>
              <a:gd name="connsiteX12" fmla="*/ 1023574 w 1831763"/>
              <a:gd name="connsiteY12" fmla="*/ 286501 h 1839584"/>
              <a:gd name="connsiteX13" fmla="*/ 916265 w 1831763"/>
              <a:gd name="connsiteY13" fmla="*/ 277432 h 1839584"/>
              <a:gd name="connsiteX14" fmla="*/ 916265 w 1831763"/>
              <a:gd name="connsiteY14" fmla="*/ 0 h 1839584"/>
              <a:gd name="connsiteX15" fmla="*/ 1154257 w 1831763"/>
              <a:gd name="connsiteY15" fmla="*/ 29877 h 1839584"/>
              <a:gd name="connsiteX16" fmla="*/ 1153064 w 1831763"/>
              <a:gd name="connsiteY16" fmla="*/ 36678 h 1839584"/>
              <a:gd name="connsiteX17" fmla="*/ 1232069 w 1831763"/>
              <a:gd name="connsiteY17" fmla="*/ 61251 h 1839584"/>
              <a:gd name="connsiteX18" fmla="*/ 1706958 w 1831763"/>
              <a:gd name="connsiteY18" fmla="*/ 464982 h 1839584"/>
              <a:gd name="connsiteX19" fmla="*/ 1819439 w 1831763"/>
              <a:gd name="connsiteY19" fmla="*/ 1073607 h 1839584"/>
              <a:gd name="connsiteX20" fmla="*/ 1801801 w 1831763"/>
              <a:gd name="connsiteY20" fmla="*/ 1155770 h 1839584"/>
              <a:gd name="connsiteX21" fmla="*/ 1804484 w 1831763"/>
              <a:gd name="connsiteY21" fmla="*/ 1156676 h 1839584"/>
              <a:gd name="connsiteX22" fmla="*/ 1375249 w 1831763"/>
              <a:gd name="connsiteY22" fmla="*/ 1720075 h 1839584"/>
              <a:gd name="connsiteX23" fmla="*/ 920515 w 1831763"/>
              <a:gd name="connsiteY23" fmla="*/ 1839584 h 1839584"/>
              <a:gd name="connsiteX24" fmla="*/ 121543 w 1831763"/>
              <a:gd name="connsiteY24" fmla="*/ 1378621 h 1839584"/>
              <a:gd name="connsiteX25" fmla="*/ 461531 w 1831763"/>
              <a:gd name="connsiteY25" fmla="*/ 123777 h 1839584"/>
              <a:gd name="connsiteX26" fmla="*/ 916265 w 1831763"/>
              <a:gd name="connsiteY26" fmla="*/ 0 h 1839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831763" h="1839584">
                <a:moveTo>
                  <a:pt x="916265" y="277432"/>
                </a:moveTo>
                <a:cubicBezTo>
                  <a:pt x="805769" y="277432"/>
                  <a:pt x="695273" y="307309"/>
                  <a:pt x="597526" y="362795"/>
                </a:cubicBezTo>
                <a:cubicBezTo>
                  <a:pt x="448782" y="448159"/>
                  <a:pt x="342535" y="593277"/>
                  <a:pt x="300037" y="755467"/>
                </a:cubicBezTo>
                <a:cubicBezTo>
                  <a:pt x="257538" y="921926"/>
                  <a:pt x="278788" y="1092653"/>
                  <a:pt x="363785" y="1242039"/>
                </a:cubicBezTo>
                <a:cubicBezTo>
                  <a:pt x="478531" y="1438375"/>
                  <a:pt x="691023" y="1562153"/>
                  <a:pt x="920515" y="1562153"/>
                </a:cubicBezTo>
                <a:cubicBezTo>
                  <a:pt x="1031011" y="1562153"/>
                  <a:pt x="1141508" y="1532275"/>
                  <a:pt x="1239254" y="1476789"/>
                </a:cubicBezTo>
                <a:cubicBezTo>
                  <a:pt x="1363562" y="1403163"/>
                  <a:pt x="1454403" y="1295925"/>
                  <a:pt x="1506397" y="1171281"/>
                </a:cubicBezTo>
                <a:lnTo>
                  <a:pt x="1543782" y="1046321"/>
                </a:lnTo>
                <a:lnTo>
                  <a:pt x="1540190" y="1044336"/>
                </a:lnTo>
                <a:cubicBezTo>
                  <a:pt x="1570123" y="899498"/>
                  <a:pt x="1548742" y="741879"/>
                  <a:pt x="1467496" y="601301"/>
                </a:cubicBezTo>
                <a:cubicBezTo>
                  <a:pt x="1390527" y="464982"/>
                  <a:pt x="1262244" y="367003"/>
                  <a:pt x="1116856" y="315883"/>
                </a:cubicBezTo>
                <a:lnTo>
                  <a:pt x="1117087" y="309733"/>
                </a:lnTo>
                <a:lnTo>
                  <a:pt x="1023574" y="286501"/>
                </a:lnTo>
                <a:cubicBezTo>
                  <a:pt x="988513" y="280633"/>
                  <a:pt x="952389" y="277432"/>
                  <a:pt x="916265" y="277432"/>
                </a:cubicBezTo>
                <a:close/>
                <a:moveTo>
                  <a:pt x="916265" y="0"/>
                </a:moveTo>
                <a:cubicBezTo>
                  <a:pt x="997012" y="0"/>
                  <a:pt x="1077759" y="8536"/>
                  <a:pt x="1154257" y="29877"/>
                </a:cubicBezTo>
                <a:lnTo>
                  <a:pt x="1153064" y="36678"/>
                </a:lnTo>
                <a:lnTo>
                  <a:pt x="1232069" y="61251"/>
                </a:lnTo>
                <a:cubicBezTo>
                  <a:pt x="1427742" y="132772"/>
                  <a:pt x="1598452" y="271154"/>
                  <a:pt x="1706958" y="464982"/>
                </a:cubicBezTo>
                <a:cubicBezTo>
                  <a:pt x="1819205" y="655083"/>
                  <a:pt x="1852880" y="871276"/>
                  <a:pt x="1819439" y="1073607"/>
                </a:cubicBezTo>
                <a:lnTo>
                  <a:pt x="1801801" y="1155770"/>
                </a:lnTo>
                <a:lnTo>
                  <a:pt x="1804484" y="1156676"/>
                </a:lnTo>
                <a:cubicBezTo>
                  <a:pt x="1744986" y="1387157"/>
                  <a:pt x="1596242" y="1592030"/>
                  <a:pt x="1375249" y="1720075"/>
                </a:cubicBezTo>
                <a:cubicBezTo>
                  <a:pt x="1230754" y="1801170"/>
                  <a:pt x="1073510" y="1839584"/>
                  <a:pt x="920515" y="1839584"/>
                </a:cubicBezTo>
                <a:cubicBezTo>
                  <a:pt x="601776" y="1839584"/>
                  <a:pt x="291537" y="1677393"/>
                  <a:pt x="121543" y="1378621"/>
                </a:cubicBezTo>
                <a:cubicBezTo>
                  <a:pt x="-129198" y="938999"/>
                  <a:pt x="19547" y="375600"/>
                  <a:pt x="461531" y="123777"/>
                </a:cubicBezTo>
                <a:cubicBezTo>
                  <a:pt x="606026" y="38414"/>
                  <a:pt x="763271" y="0"/>
                  <a:pt x="916265" y="0"/>
                </a:cubicBezTo>
                <a:close/>
              </a:path>
            </a:pathLst>
          </a:custGeom>
          <a:solidFill>
            <a:schemeClr val="accent3">
              <a:alpha val="70000"/>
            </a:schemeClr>
          </a:solidFill>
          <a:ln w="9525" cap="flat">
            <a:no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chor="ctr">
            <a:noAutofit/>
          </a:bodyPr>
          <a:lstStyle/>
          <a:p>
            <a:endParaRPr/>
          </a:p>
        </p:txBody>
      </p:sp>
      <p:sp>
        <p:nvSpPr>
          <p:cNvPr id="14" name="Freeform 127">
            <a:extLst>
              <a:ext uri="{FF2B5EF4-FFF2-40B4-BE49-F238E27FC236}">
                <a16:creationId xmlns:a16="http://schemas.microsoft.com/office/drawing/2014/main" id="{2AFB3E51-DBDA-4B23-B7B1-25E0B5F80A63}"/>
              </a:ext>
            </a:extLst>
          </p:cNvPr>
          <p:cNvSpPr>
            <a:spLocks noChangeArrowheads="1"/>
          </p:cNvSpPr>
          <p:nvPr/>
        </p:nvSpPr>
        <p:spPr bwMode="auto">
          <a:xfrm>
            <a:off x="9971852" y="3241193"/>
            <a:ext cx="2220148" cy="2803413"/>
          </a:xfrm>
          <a:custGeom>
            <a:avLst/>
            <a:gdLst>
              <a:gd name="T0" fmla="*/ 60 w 522"/>
              <a:gd name="T1" fmla="*/ 516 h 655"/>
              <a:gd name="T2" fmla="*/ 355 w 522"/>
              <a:gd name="T3" fmla="*/ 595 h 655"/>
              <a:gd name="T4" fmla="*/ 521 w 522"/>
              <a:gd name="T5" fmla="*/ 499 h 655"/>
              <a:gd name="T6" fmla="*/ 521 w 522"/>
              <a:gd name="T7" fmla="*/ 0 h 655"/>
              <a:gd name="T8" fmla="*/ 139 w 522"/>
              <a:gd name="T9" fmla="*/ 221 h 655"/>
              <a:gd name="T10" fmla="*/ 60 w 522"/>
              <a:gd name="T11" fmla="*/ 516 h 655"/>
            </a:gdLst>
            <a:ahLst/>
            <a:cxnLst>
              <a:cxn ang="0">
                <a:pos x="T0" y="T1"/>
              </a:cxn>
              <a:cxn ang="0">
                <a:pos x="T2" y="T3"/>
              </a:cxn>
              <a:cxn ang="0">
                <a:pos x="T4" y="T5"/>
              </a:cxn>
              <a:cxn ang="0">
                <a:pos x="T6" y="T7"/>
              </a:cxn>
              <a:cxn ang="0">
                <a:pos x="T8" y="T9"/>
              </a:cxn>
              <a:cxn ang="0">
                <a:pos x="T10" y="T11"/>
              </a:cxn>
            </a:cxnLst>
            <a:rect l="0" t="0" r="r" b="b"/>
            <a:pathLst>
              <a:path w="522" h="655">
                <a:moveTo>
                  <a:pt x="60" y="516"/>
                </a:moveTo>
                <a:cubicBezTo>
                  <a:pt x="120" y="619"/>
                  <a:pt x="252" y="654"/>
                  <a:pt x="355" y="595"/>
                </a:cubicBezTo>
                <a:lnTo>
                  <a:pt x="521" y="499"/>
                </a:lnTo>
                <a:lnTo>
                  <a:pt x="521" y="0"/>
                </a:lnTo>
                <a:lnTo>
                  <a:pt x="139" y="221"/>
                </a:lnTo>
                <a:cubicBezTo>
                  <a:pt x="36" y="280"/>
                  <a:pt x="0" y="412"/>
                  <a:pt x="60" y="516"/>
                </a:cubicBezTo>
              </a:path>
            </a:pathLst>
          </a:custGeom>
          <a:solidFill>
            <a:schemeClr val="accent1">
              <a:alpha val="4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2" name="Title 1">
            <a:extLst>
              <a:ext uri="{FF2B5EF4-FFF2-40B4-BE49-F238E27FC236}">
                <a16:creationId xmlns:a16="http://schemas.microsoft.com/office/drawing/2014/main" id="{004DE2BE-1E55-4CBB-AF1C-6949A5F3A0EE}"/>
              </a:ext>
            </a:extLst>
          </p:cNvPr>
          <p:cNvSpPr>
            <a:spLocks noGrp="1"/>
          </p:cNvSpPr>
          <p:nvPr userDrawn="1">
            <p:ph type="title"/>
          </p:nvPr>
        </p:nvSpPr>
        <p:spPr>
          <a:xfrm>
            <a:off x="442914" y="1375616"/>
            <a:ext cx="2709334" cy="2053383"/>
          </a:xfrm>
        </p:spPr>
        <p:txBody>
          <a:bodyPr>
            <a:noAutofit/>
          </a:bodyPr>
          <a:lstStyle>
            <a:lvl1pPr>
              <a:defRPr sz="6000"/>
            </a:lvl1pPr>
          </a:lstStyle>
          <a:p>
            <a:r>
              <a:rPr lang="en-US" dirty="0"/>
              <a:t>Click to edit Master title style</a:t>
            </a:r>
            <a:endParaRPr lang="en-GB" dirty="0"/>
          </a:p>
        </p:txBody>
      </p:sp>
      <p:sp>
        <p:nvSpPr>
          <p:cNvPr id="6" name="Slide Number Placeholder 5">
            <a:extLst>
              <a:ext uri="{FF2B5EF4-FFF2-40B4-BE49-F238E27FC236}">
                <a16:creationId xmlns:a16="http://schemas.microsoft.com/office/drawing/2014/main" id="{E952999F-5742-4BA1-AD85-6F5512D310F6}"/>
              </a:ext>
            </a:extLst>
          </p:cNvPr>
          <p:cNvSpPr>
            <a:spLocks noGrp="1"/>
          </p:cNvSpPr>
          <p:nvPr userDrawn="1">
            <p:ph type="sldNum" sz="quarter" idx="12"/>
          </p:nvPr>
        </p:nvSpPr>
        <p:spPr>
          <a:xfrm>
            <a:off x="11278800" y="6400800"/>
            <a:ext cx="442800" cy="226800"/>
          </a:xfrm>
        </p:spPr>
        <p:txBody>
          <a:bodyPr vert="horz" lIns="0" tIns="0" rIns="0" bIns="0" rtlCol="0" anchor="t" anchorCtr="0">
            <a:noAutofit/>
          </a:bodyPr>
          <a:lstStyle>
            <a:lvl1pPr>
              <a:defRPr lang="en-GB" smtClean="0"/>
            </a:lvl1pPr>
          </a:lstStyle>
          <a:p>
            <a:pPr algn="r">
              <a:lnSpc>
                <a:spcPts val="970"/>
              </a:lnSpc>
            </a:pPr>
            <a:fld id="{24A935F8-6F02-46CF-898B-F9D6B7DB9D8E}" type="slidenum">
              <a:rPr lang="en-GB" smtClean="0"/>
              <a:pPr algn="r">
                <a:lnSpc>
                  <a:spcPts val="970"/>
                </a:lnSpc>
              </a:pPr>
              <a:t>‹#›</a:t>
            </a:fld>
            <a:endParaRPr lang="en-GB"/>
          </a:p>
        </p:txBody>
      </p:sp>
      <p:sp>
        <p:nvSpPr>
          <p:cNvPr id="3" name="Content Placeholder 2">
            <a:extLst>
              <a:ext uri="{FF2B5EF4-FFF2-40B4-BE49-F238E27FC236}">
                <a16:creationId xmlns:a16="http://schemas.microsoft.com/office/drawing/2014/main" id="{CE1BC7D3-BAF4-4886-8107-DC6896636C1B}"/>
              </a:ext>
            </a:extLst>
          </p:cNvPr>
          <p:cNvSpPr>
            <a:spLocks noGrp="1"/>
          </p:cNvSpPr>
          <p:nvPr userDrawn="1">
            <p:ph idx="1"/>
          </p:nvPr>
        </p:nvSpPr>
        <p:spPr>
          <a:xfrm>
            <a:off x="6300316" y="1376364"/>
            <a:ext cx="5448770" cy="478948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3394819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 preserve="1">
  <p:cSld name="Agenda v2">
    <p:spTree>
      <p:nvGrpSpPr>
        <p:cNvPr id="1" name=""/>
        <p:cNvGrpSpPr/>
        <p:nvPr/>
      </p:nvGrpSpPr>
      <p:grpSpPr>
        <a:xfrm>
          <a:off x="0" y="0"/>
          <a:ext cx="0" cy="0"/>
          <a:chOff x="0" y="0"/>
          <a:chExt cx="0" cy="0"/>
        </a:xfrm>
      </p:grpSpPr>
      <p:sp>
        <p:nvSpPr>
          <p:cNvPr id="9" name="Freeform 121">
            <a:extLst>
              <a:ext uri="{FF2B5EF4-FFF2-40B4-BE49-F238E27FC236}">
                <a16:creationId xmlns:a16="http://schemas.microsoft.com/office/drawing/2014/main" id="{C400EB2C-77E2-47DD-BD49-274D28B48C75}"/>
              </a:ext>
            </a:extLst>
          </p:cNvPr>
          <p:cNvSpPr>
            <a:spLocks noChangeArrowheads="1"/>
          </p:cNvSpPr>
          <p:nvPr/>
        </p:nvSpPr>
        <p:spPr bwMode="auto">
          <a:xfrm>
            <a:off x="4111992" y="2450971"/>
            <a:ext cx="451556" cy="733784"/>
          </a:xfrm>
          <a:custGeom>
            <a:avLst/>
            <a:gdLst>
              <a:gd name="T0" fmla="*/ 99 w 107"/>
              <a:gd name="T1" fmla="*/ 171 h 172"/>
              <a:gd name="T2" fmla="*/ 82 w 107"/>
              <a:gd name="T3" fmla="*/ 67 h 172"/>
              <a:gd name="T4" fmla="*/ 0 w 107"/>
              <a:gd name="T5" fmla="*/ 0 h 172"/>
              <a:gd name="T6" fmla="*/ 29 w 107"/>
              <a:gd name="T7" fmla="*/ 98 h 172"/>
              <a:gd name="T8" fmla="*/ 99 w 107"/>
              <a:gd name="T9" fmla="*/ 171 h 172"/>
            </a:gdLst>
            <a:ahLst/>
            <a:cxnLst>
              <a:cxn ang="0">
                <a:pos x="T0" y="T1"/>
              </a:cxn>
              <a:cxn ang="0">
                <a:pos x="T2" y="T3"/>
              </a:cxn>
              <a:cxn ang="0">
                <a:pos x="T4" y="T5"/>
              </a:cxn>
              <a:cxn ang="0">
                <a:pos x="T6" y="T7"/>
              </a:cxn>
              <a:cxn ang="0">
                <a:pos x="T8" y="T9"/>
              </a:cxn>
            </a:cxnLst>
            <a:rect l="0" t="0" r="r" b="b"/>
            <a:pathLst>
              <a:path w="107" h="172">
                <a:moveTo>
                  <a:pt x="99" y="171"/>
                </a:moveTo>
                <a:cubicBezTo>
                  <a:pt x="106" y="137"/>
                  <a:pt x="101" y="100"/>
                  <a:pt x="82" y="67"/>
                </a:cubicBezTo>
                <a:cubicBezTo>
                  <a:pt x="63" y="35"/>
                  <a:pt x="34" y="12"/>
                  <a:pt x="0" y="0"/>
                </a:cubicBezTo>
                <a:cubicBezTo>
                  <a:pt x="2" y="33"/>
                  <a:pt x="11" y="67"/>
                  <a:pt x="29" y="98"/>
                </a:cubicBezTo>
                <a:cubicBezTo>
                  <a:pt x="47" y="129"/>
                  <a:pt x="71" y="153"/>
                  <a:pt x="99" y="171"/>
                </a:cubicBezTo>
              </a:path>
            </a:pathLst>
          </a:custGeom>
          <a:solidFill>
            <a:schemeClr val="accent4">
              <a:alpha val="40000"/>
            </a:schemeClr>
          </a:solidFill>
          <a:ln>
            <a:noFill/>
          </a:ln>
          <a:effectLst/>
        </p:spPr>
        <p:txBody>
          <a:bodyPr wrap="none" anchor="ctr"/>
          <a:lstStyle/>
          <a:p>
            <a:endParaRPr dirty="0"/>
          </a:p>
        </p:txBody>
      </p:sp>
      <p:sp>
        <p:nvSpPr>
          <p:cNvPr id="10" name="Freeform 122">
            <a:extLst>
              <a:ext uri="{FF2B5EF4-FFF2-40B4-BE49-F238E27FC236}">
                <a16:creationId xmlns:a16="http://schemas.microsoft.com/office/drawing/2014/main" id="{0AEC132E-078C-4D8E-9E36-028C4AE75647}"/>
              </a:ext>
            </a:extLst>
          </p:cNvPr>
          <p:cNvSpPr>
            <a:spLocks noChangeArrowheads="1"/>
          </p:cNvSpPr>
          <p:nvPr/>
        </p:nvSpPr>
        <p:spPr bwMode="auto">
          <a:xfrm>
            <a:off x="4114895" y="1375617"/>
            <a:ext cx="1956741" cy="2013191"/>
          </a:xfrm>
          <a:custGeom>
            <a:avLst/>
            <a:gdLst>
              <a:gd name="T0" fmla="*/ 101 w 457"/>
              <a:gd name="T1" fmla="*/ 60 h 471"/>
              <a:gd name="T2" fmla="*/ 0 w 457"/>
              <a:gd name="T3" fmla="*/ 191 h 471"/>
              <a:gd name="T4" fmla="*/ 131 w 457"/>
              <a:gd name="T5" fmla="*/ 292 h 471"/>
              <a:gd name="T6" fmla="*/ 153 w 457"/>
              <a:gd name="T7" fmla="*/ 455 h 471"/>
              <a:gd name="T8" fmla="*/ 317 w 457"/>
              <a:gd name="T9" fmla="*/ 434 h 471"/>
              <a:gd name="T10" fmla="*/ 396 w 457"/>
              <a:gd name="T11" fmla="*/ 139 h 471"/>
              <a:gd name="T12" fmla="*/ 101 w 457"/>
              <a:gd name="T13" fmla="*/ 60 h 471"/>
            </a:gdLst>
            <a:ahLst/>
            <a:cxnLst>
              <a:cxn ang="0">
                <a:pos x="T0" y="T1"/>
              </a:cxn>
              <a:cxn ang="0">
                <a:pos x="T2" y="T3"/>
              </a:cxn>
              <a:cxn ang="0">
                <a:pos x="T4" y="T5"/>
              </a:cxn>
              <a:cxn ang="0">
                <a:pos x="T6" y="T7"/>
              </a:cxn>
              <a:cxn ang="0">
                <a:pos x="T8" y="T9"/>
              </a:cxn>
              <a:cxn ang="0">
                <a:pos x="T10" y="T11"/>
              </a:cxn>
              <a:cxn ang="0">
                <a:pos x="T12" y="T13"/>
              </a:cxn>
            </a:cxnLst>
            <a:rect l="0" t="0" r="r" b="b"/>
            <a:pathLst>
              <a:path w="457" h="471">
                <a:moveTo>
                  <a:pt x="101" y="60"/>
                </a:moveTo>
                <a:cubicBezTo>
                  <a:pt x="49" y="90"/>
                  <a:pt x="15" y="138"/>
                  <a:pt x="0" y="191"/>
                </a:cubicBezTo>
                <a:cubicBezTo>
                  <a:pt x="54" y="205"/>
                  <a:pt x="101" y="241"/>
                  <a:pt x="131" y="292"/>
                </a:cubicBezTo>
                <a:cubicBezTo>
                  <a:pt x="160" y="344"/>
                  <a:pt x="167" y="402"/>
                  <a:pt x="153" y="455"/>
                </a:cubicBezTo>
                <a:cubicBezTo>
                  <a:pt x="206" y="470"/>
                  <a:pt x="265" y="464"/>
                  <a:pt x="317" y="434"/>
                </a:cubicBezTo>
                <a:cubicBezTo>
                  <a:pt x="420" y="374"/>
                  <a:pt x="456" y="242"/>
                  <a:pt x="396" y="139"/>
                </a:cubicBezTo>
                <a:cubicBezTo>
                  <a:pt x="336" y="36"/>
                  <a:pt x="204" y="0"/>
                  <a:pt x="101" y="60"/>
                </a:cubicBezTo>
              </a:path>
            </a:pathLst>
          </a:custGeom>
          <a:solidFill>
            <a:schemeClr val="accent4">
              <a:alpha val="40000"/>
            </a:schemeClr>
          </a:solidFill>
          <a:ln w="9525" cap="flat">
            <a:noFill/>
            <a:bevel/>
            <a:headEnd/>
            <a:tailEnd/>
          </a:ln>
          <a:effectLst/>
        </p:spPr>
        <p:txBody>
          <a:bodyPr wrap="none" anchor="ctr"/>
          <a:lstStyle/>
          <a:p>
            <a:endParaRPr dirty="0"/>
          </a:p>
        </p:txBody>
      </p:sp>
      <p:sp>
        <p:nvSpPr>
          <p:cNvPr id="11" name="Freeform 123">
            <a:extLst>
              <a:ext uri="{FF2B5EF4-FFF2-40B4-BE49-F238E27FC236}">
                <a16:creationId xmlns:a16="http://schemas.microsoft.com/office/drawing/2014/main" id="{84CDA851-AAD8-447D-A1C1-EF2FB139299E}"/>
              </a:ext>
            </a:extLst>
          </p:cNvPr>
          <p:cNvSpPr>
            <a:spLocks noChangeArrowheads="1"/>
          </p:cNvSpPr>
          <p:nvPr/>
        </p:nvSpPr>
        <p:spPr bwMode="auto">
          <a:xfrm>
            <a:off x="-8459" y="3316452"/>
            <a:ext cx="2709334" cy="3066821"/>
          </a:xfrm>
          <a:custGeom>
            <a:avLst/>
            <a:gdLst>
              <a:gd name="T0" fmla="*/ 572 w 633"/>
              <a:gd name="T1" fmla="*/ 139 h 719"/>
              <a:gd name="T2" fmla="*/ 277 w 633"/>
              <a:gd name="T3" fmla="*/ 60 h 719"/>
              <a:gd name="T4" fmla="*/ 0 w 633"/>
              <a:gd name="T5" fmla="*/ 219 h 719"/>
              <a:gd name="T6" fmla="*/ 0 w 633"/>
              <a:gd name="T7" fmla="*/ 718 h 719"/>
              <a:gd name="T8" fmla="*/ 493 w 633"/>
              <a:gd name="T9" fmla="*/ 434 h 719"/>
              <a:gd name="T10" fmla="*/ 572 w 633"/>
              <a:gd name="T11" fmla="*/ 139 h 719"/>
            </a:gdLst>
            <a:ahLst/>
            <a:cxnLst>
              <a:cxn ang="0">
                <a:pos x="T0" y="T1"/>
              </a:cxn>
              <a:cxn ang="0">
                <a:pos x="T2" y="T3"/>
              </a:cxn>
              <a:cxn ang="0">
                <a:pos x="T4" y="T5"/>
              </a:cxn>
              <a:cxn ang="0">
                <a:pos x="T6" y="T7"/>
              </a:cxn>
              <a:cxn ang="0">
                <a:pos x="T8" y="T9"/>
              </a:cxn>
              <a:cxn ang="0">
                <a:pos x="T10" y="T11"/>
              </a:cxn>
            </a:cxnLst>
            <a:rect l="0" t="0" r="r" b="b"/>
            <a:pathLst>
              <a:path w="633" h="719">
                <a:moveTo>
                  <a:pt x="572" y="139"/>
                </a:moveTo>
                <a:cubicBezTo>
                  <a:pt x="512" y="35"/>
                  <a:pt x="380" y="0"/>
                  <a:pt x="277" y="60"/>
                </a:cubicBezTo>
                <a:lnTo>
                  <a:pt x="0" y="219"/>
                </a:lnTo>
                <a:lnTo>
                  <a:pt x="0" y="718"/>
                </a:lnTo>
                <a:lnTo>
                  <a:pt x="493" y="434"/>
                </a:lnTo>
                <a:cubicBezTo>
                  <a:pt x="596" y="374"/>
                  <a:pt x="632" y="242"/>
                  <a:pt x="572" y="139"/>
                </a:cubicBezTo>
              </a:path>
            </a:pathLst>
          </a:custGeom>
          <a:solidFill>
            <a:schemeClr val="accent4"/>
          </a:solidFill>
          <a:ln>
            <a:noFill/>
          </a:ln>
          <a:effectLst/>
        </p:spPr>
        <p:txBody>
          <a:bodyPr wrap="none" anchor="ctr"/>
          <a:lstStyle/>
          <a:p>
            <a:endParaRPr dirty="0"/>
          </a:p>
        </p:txBody>
      </p:sp>
      <p:sp>
        <p:nvSpPr>
          <p:cNvPr id="15" name="Freeform: Shape 14">
            <a:extLst>
              <a:ext uri="{FF2B5EF4-FFF2-40B4-BE49-F238E27FC236}">
                <a16:creationId xmlns:a16="http://schemas.microsoft.com/office/drawing/2014/main" id="{C7C606A3-42F1-4591-B74F-28EA466C0615}"/>
              </a:ext>
            </a:extLst>
          </p:cNvPr>
          <p:cNvSpPr>
            <a:spLocks noChangeArrowheads="1"/>
          </p:cNvSpPr>
          <p:nvPr/>
        </p:nvSpPr>
        <p:spPr bwMode="auto">
          <a:xfrm>
            <a:off x="2980591" y="2149933"/>
            <a:ext cx="1831763" cy="1839584"/>
          </a:xfrm>
          <a:custGeom>
            <a:avLst/>
            <a:gdLst>
              <a:gd name="connsiteX0" fmla="*/ 916265 w 1831763"/>
              <a:gd name="connsiteY0" fmla="*/ 277432 h 1839584"/>
              <a:gd name="connsiteX1" fmla="*/ 597526 w 1831763"/>
              <a:gd name="connsiteY1" fmla="*/ 362795 h 1839584"/>
              <a:gd name="connsiteX2" fmla="*/ 300037 w 1831763"/>
              <a:gd name="connsiteY2" fmla="*/ 755467 h 1839584"/>
              <a:gd name="connsiteX3" fmla="*/ 363785 w 1831763"/>
              <a:gd name="connsiteY3" fmla="*/ 1242039 h 1839584"/>
              <a:gd name="connsiteX4" fmla="*/ 920515 w 1831763"/>
              <a:gd name="connsiteY4" fmla="*/ 1562153 h 1839584"/>
              <a:gd name="connsiteX5" fmla="*/ 1239254 w 1831763"/>
              <a:gd name="connsiteY5" fmla="*/ 1476789 h 1839584"/>
              <a:gd name="connsiteX6" fmla="*/ 1506397 w 1831763"/>
              <a:gd name="connsiteY6" fmla="*/ 1171281 h 1839584"/>
              <a:gd name="connsiteX7" fmla="*/ 1543782 w 1831763"/>
              <a:gd name="connsiteY7" fmla="*/ 1046321 h 1839584"/>
              <a:gd name="connsiteX8" fmla="*/ 1540190 w 1831763"/>
              <a:gd name="connsiteY8" fmla="*/ 1044336 h 1839584"/>
              <a:gd name="connsiteX9" fmla="*/ 1467496 w 1831763"/>
              <a:gd name="connsiteY9" fmla="*/ 601301 h 1839584"/>
              <a:gd name="connsiteX10" fmla="*/ 1116856 w 1831763"/>
              <a:gd name="connsiteY10" fmla="*/ 315883 h 1839584"/>
              <a:gd name="connsiteX11" fmla="*/ 1117087 w 1831763"/>
              <a:gd name="connsiteY11" fmla="*/ 309733 h 1839584"/>
              <a:gd name="connsiteX12" fmla="*/ 1023574 w 1831763"/>
              <a:gd name="connsiteY12" fmla="*/ 286501 h 1839584"/>
              <a:gd name="connsiteX13" fmla="*/ 916265 w 1831763"/>
              <a:gd name="connsiteY13" fmla="*/ 277432 h 1839584"/>
              <a:gd name="connsiteX14" fmla="*/ 916265 w 1831763"/>
              <a:gd name="connsiteY14" fmla="*/ 0 h 1839584"/>
              <a:gd name="connsiteX15" fmla="*/ 1154257 w 1831763"/>
              <a:gd name="connsiteY15" fmla="*/ 29877 h 1839584"/>
              <a:gd name="connsiteX16" fmla="*/ 1153064 w 1831763"/>
              <a:gd name="connsiteY16" fmla="*/ 36678 h 1839584"/>
              <a:gd name="connsiteX17" fmla="*/ 1232069 w 1831763"/>
              <a:gd name="connsiteY17" fmla="*/ 61251 h 1839584"/>
              <a:gd name="connsiteX18" fmla="*/ 1706958 w 1831763"/>
              <a:gd name="connsiteY18" fmla="*/ 464982 h 1839584"/>
              <a:gd name="connsiteX19" fmla="*/ 1819439 w 1831763"/>
              <a:gd name="connsiteY19" fmla="*/ 1073607 h 1839584"/>
              <a:gd name="connsiteX20" fmla="*/ 1801801 w 1831763"/>
              <a:gd name="connsiteY20" fmla="*/ 1155770 h 1839584"/>
              <a:gd name="connsiteX21" fmla="*/ 1804484 w 1831763"/>
              <a:gd name="connsiteY21" fmla="*/ 1156676 h 1839584"/>
              <a:gd name="connsiteX22" fmla="*/ 1375249 w 1831763"/>
              <a:gd name="connsiteY22" fmla="*/ 1720075 h 1839584"/>
              <a:gd name="connsiteX23" fmla="*/ 920515 w 1831763"/>
              <a:gd name="connsiteY23" fmla="*/ 1839584 h 1839584"/>
              <a:gd name="connsiteX24" fmla="*/ 121543 w 1831763"/>
              <a:gd name="connsiteY24" fmla="*/ 1378621 h 1839584"/>
              <a:gd name="connsiteX25" fmla="*/ 461531 w 1831763"/>
              <a:gd name="connsiteY25" fmla="*/ 123777 h 1839584"/>
              <a:gd name="connsiteX26" fmla="*/ 916265 w 1831763"/>
              <a:gd name="connsiteY26" fmla="*/ 0 h 1839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831763" h="1839584">
                <a:moveTo>
                  <a:pt x="916265" y="277432"/>
                </a:moveTo>
                <a:cubicBezTo>
                  <a:pt x="805769" y="277432"/>
                  <a:pt x="695273" y="307309"/>
                  <a:pt x="597526" y="362795"/>
                </a:cubicBezTo>
                <a:cubicBezTo>
                  <a:pt x="448782" y="448159"/>
                  <a:pt x="342535" y="593277"/>
                  <a:pt x="300037" y="755467"/>
                </a:cubicBezTo>
                <a:cubicBezTo>
                  <a:pt x="257538" y="921926"/>
                  <a:pt x="278788" y="1092653"/>
                  <a:pt x="363785" y="1242039"/>
                </a:cubicBezTo>
                <a:cubicBezTo>
                  <a:pt x="478531" y="1438375"/>
                  <a:pt x="691023" y="1562153"/>
                  <a:pt x="920515" y="1562153"/>
                </a:cubicBezTo>
                <a:cubicBezTo>
                  <a:pt x="1031011" y="1562153"/>
                  <a:pt x="1141508" y="1532275"/>
                  <a:pt x="1239254" y="1476789"/>
                </a:cubicBezTo>
                <a:cubicBezTo>
                  <a:pt x="1363562" y="1403163"/>
                  <a:pt x="1454403" y="1295925"/>
                  <a:pt x="1506397" y="1171281"/>
                </a:cubicBezTo>
                <a:lnTo>
                  <a:pt x="1543782" y="1046321"/>
                </a:lnTo>
                <a:lnTo>
                  <a:pt x="1540190" y="1044336"/>
                </a:lnTo>
                <a:cubicBezTo>
                  <a:pt x="1570123" y="899498"/>
                  <a:pt x="1548742" y="741879"/>
                  <a:pt x="1467496" y="601301"/>
                </a:cubicBezTo>
                <a:cubicBezTo>
                  <a:pt x="1390527" y="464982"/>
                  <a:pt x="1262244" y="367003"/>
                  <a:pt x="1116856" y="315883"/>
                </a:cubicBezTo>
                <a:lnTo>
                  <a:pt x="1117087" y="309733"/>
                </a:lnTo>
                <a:lnTo>
                  <a:pt x="1023574" y="286501"/>
                </a:lnTo>
                <a:cubicBezTo>
                  <a:pt x="988513" y="280633"/>
                  <a:pt x="952389" y="277432"/>
                  <a:pt x="916265" y="277432"/>
                </a:cubicBezTo>
                <a:close/>
                <a:moveTo>
                  <a:pt x="916265" y="0"/>
                </a:moveTo>
                <a:cubicBezTo>
                  <a:pt x="997012" y="0"/>
                  <a:pt x="1077759" y="8536"/>
                  <a:pt x="1154257" y="29877"/>
                </a:cubicBezTo>
                <a:lnTo>
                  <a:pt x="1153064" y="36678"/>
                </a:lnTo>
                <a:lnTo>
                  <a:pt x="1232069" y="61251"/>
                </a:lnTo>
                <a:cubicBezTo>
                  <a:pt x="1427742" y="132772"/>
                  <a:pt x="1598452" y="271154"/>
                  <a:pt x="1706958" y="464982"/>
                </a:cubicBezTo>
                <a:cubicBezTo>
                  <a:pt x="1819205" y="655083"/>
                  <a:pt x="1852880" y="871276"/>
                  <a:pt x="1819439" y="1073607"/>
                </a:cubicBezTo>
                <a:lnTo>
                  <a:pt x="1801801" y="1155770"/>
                </a:lnTo>
                <a:lnTo>
                  <a:pt x="1804484" y="1156676"/>
                </a:lnTo>
                <a:cubicBezTo>
                  <a:pt x="1744986" y="1387157"/>
                  <a:pt x="1596242" y="1592030"/>
                  <a:pt x="1375249" y="1720075"/>
                </a:cubicBezTo>
                <a:cubicBezTo>
                  <a:pt x="1230754" y="1801170"/>
                  <a:pt x="1073510" y="1839584"/>
                  <a:pt x="920515" y="1839584"/>
                </a:cubicBezTo>
                <a:cubicBezTo>
                  <a:pt x="601776" y="1839584"/>
                  <a:pt x="291537" y="1677393"/>
                  <a:pt x="121543" y="1378621"/>
                </a:cubicBezTo>
                <a:cubicBezTo>
                  <a:pt x="-129198" y="938999"/>
                  <a:pt x="19547" y="375600"/>
                  <a:pt x="461531" y="123777"/>
                </a:cubicBezTo>
                <a:cubicBezTo>
                  <a:pt x="606026" y="38414"/>
                  <a:pt x="763271" y="0"/>
                  <a:pt x="916265" y="0"/>
                </a:cubicBezTo>
                <a:close/>
              </a:path>
            </a:pathLst>
          </a:custGeom>
          <a:solidFill>
            <a:schemeClr val="accent4">
              <a:alpha val="70000"/>
            </a:schemeClr>
          </a:solidFill>
          <a:ln w="9525" cap="flat">
            <a:noFill/>
            <a:bevel/>
            <a:headEnd/>
            <a:tailEnd/>
          </a:ln>
          <a:effectLst/>
        </p:spPr>
        <p:txBody>
          <a:bodyPr wrap="square" anchor="ctr">
            <a:noAutofit/>
          </a:bodyPr>
          <a:lstStyle/>
          <a:p>
            <a:endParaRPr/>
          </a:p>
        </p:txBody>
      </p:sp>
      <p:sp>
        <p:nvSpPr>
          <p:cNvPr id="14" name="Freeform 127">
            <a:extLst>
              <a:ext uri="{FF2B5EF4-FFF2-40B4-BE49-F238E27FC236}">
                <a16:creationId xmlns:a16="http://schemas.microsoft.com/office/drawing/2014/main" id="{2AFB3E51-DBDA-4B23-B7B1-25E0B5F80A63}"/>
              </a:ext>
            </a:extLst>
          </p:cNvPr>
          <p:cNvSpPr>
            <a:spLocks noChangeArrowheads="1"/>
          </p:cNvSpPr>
          <p:nvPr/>
        </p:nvSpPr>
        <p:spPr bwMode="auto">
          <a:xfrm>
            <a:off x="9971852" y="3241193"/>
            <a:ext cx="2220148" cy="2803413"/>
          </a:xfrm>
          <a:custGeom>
            <a:avLst/>
            <a:gdLst>
              <a:gd name="T0" fmla="*/ 60 w 522"/>
              <a:gd name="T1" fmla="*/ 516 h 655"/>
              <a:gd name="T2" fmla="*/ 355 w 522"/>
              <a:gd name="T3" fmla="*/ 595 h 655"/>
              <a:gd name="T4" fmla="*/ 521 w 522"/>
              <a:gd name="T5" fmla="*/ 499 h 655"/>
              <a:gd name="T6" fmla="*/ 521 w 522"/>
              <a:gd name="T7" fmla="*/ 0 h 655"/>
              <a:gd name="T8" fmla="*/ 139 w 522"/>
              <a:gd name="T9" fmla="*/ 221 h 655"/>
              <a:gd name="T10" fmla="*/ 60 w 522"/>
              <a:gd name="T11" fmla="*/ 516 h 655"/>
            </a:gdLst>
            <a:ahLst/>
            <a:cxnLst>
              <a:cxn ang="0">
                <a:pos x="T0" y="T1"/>
              </a:cxn>
              <a:cxn ang="0">
                <a:pos x="T2" y="T3"/>
              </a:cxn>
              <a:cxn ang="0">
                <a:pos x="T4" y="T5"/>
              </a:cxn>
              <a:cxn ang="0">
                <a:pos x="T6" y="T7"/>
              </a:cxn>
              <a:cxn ang="0">
                <a:pos x="T8" y="T9"/>
              </a:cxn>
              <a:cxn ang="0">
                <a:pos x="T10" y="T11"/>
              </a:cxn>
            </a:cxnLst>
            <a:rect l="0" t="0" r="r" b="b"/>
            <a:pathLst>
              <a:path w="522" h="655">
                <a:moveTo>
                  <a:pt x="60" y="516"/>
                </a:moveTo>
                <a:cubicBezTo>
                  <a:pt x="120" y="619"/>
                  <a:pt x="252" y="654"/>
                  <a:pt x="355" y="595"/>
                </a:cubicBezTo>
                <a:lnTo>
                  <a:pt x="521" y="499"/>
                </a:lnTo>
                <a:lnTo>
                  <a:pt x="521" y="0"/>
                </a:lnTo>
                <a:lnTo>
                  <a:pt x="139" y="221"/>
                </a:lnTo>
                <a:cubicBezTo>
                  <a:pt x="36" y="280"/>
                  <a:pt x="0" y="412"/>
                  <a:pt x="60" y="516"/>
                </a:cubicBezTo>
              </a:path>
            </a:pathLst>
          </a:custGeom>
          <a:solidFill>
            <a:schemeClr val="accent1">
              <a:alpha val="4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2" name="Title 1">
            <a:extLst>
              <a:ext uri="{FF2B5EF4-FFF2-40B4-BE49-F238E27FC236}">
                <a16:creationId xmlns:a16="http://schemas.microsoft.com/office/drawing/2014/main" id="{004DE2BE-1E55-4CBB-AF1C-6949A5F3A0EE}"/>
              </a:ext>
            </a:extLst>
          </p:cNvPr>
          <p:cNvSpPr>
            <a:spLocks noGrp="1"/>
          </p:cNvSpPr>
          <p:nvPr userDrawn="1">
            <p:ph type="title"/>
          </p:nvPr>
        </p:nvSpPr>
        <p:spPr>
          <a:xfrm>
            <a:off x="442914" y="1375616"/>
            <a:ext cx="2709334" cy="2053383"/>
          </a:xfrm>
        </p:spPr>
        <p:txBody>
          <a:bodyPr>
            <a:noAutofit/>
          </a:bodyPr>
          <a:lstStyle>
            <a:lvl1pPr>
              <a:defRPr sz="6000"/>
            </a:lvl1pPr>
          </a:lstStyle>
          <a:p>
            <a:r>
              <a:rPr lang="en-US" dirty="0"/>
              <a:t>Click to edit Master title style</a:t>
            </a:r>
            <a:endParaRPr lang="en-GB" dirty="0"/>
          </a:p>
        </p:txBody>
      </p:sp>
      <p:sp>
        <p:nvSpPr>
          <p:cNvPr id="6" name="Slide Number Placeholder 5">
            <a:extLst>
              <a:ext uri="{FF2B5EF4-FFF2-40B4-BE49-F238E27FC236}">
                <a16:creationId xmlns:a16="http://schemas.microsoft.com/office/drawing/2014/main" id="{E952999F-5742-4BA1-AD85-6F5512D310F6}"/>
              </a:ext>
            </a:extLst>
          </p:cNvPr>
          <p:cNvSpPr>
            <a:spLocks noGrp="1"/>
          </p:cNvSpPr>
          <p:nvPr userDrawn="1">
            <p:ph type="sldNum" sz="quarter" idx="12"/>
          </p:nvPr>
        </p:nvSpPr>
        <p:spPr>
          <a:xfrm>
            <a:off x="11278800" y="6400800"/>
            <a:ext cx="442800" cy="226800"/>
          </a:xfrm>
        </p:spPr>
        <p:txBody>
          <a:bodyPr vert="horz" lIns="0" tIns="0" rIns="0" bIns="0" rtlCol="0" anchor="t" anchorCtr="0">
            <a:noAutofit/>
          </a:bodyPr>
          <a:lstStyle>
            <a:lvl1pPr>
              <a:defRPr lang="en-GB" smtClean="0"/>
            </a:lvl1pPr>
          </a:lstStyle>
          <a:p>
            <a:pPr algn="r">
              <a:lnSpc>
                <a:spcPts val="970"/>
              </a:lnSpc>
            </a:pPr>
            <a:fld id="{24A935F8-6F02-46CF-898B-F9D6B7DB9D8E}" type="slidenum">
              <a:rPr lang="en-GB" smtClean="0"/>
              <a:pPr algn="r">
                <a:lnSpc>
                  <a:spcPts val="970"/>
                </a:lnSpc>
              </a:pPr>
              <a:t>‹#›</a:t>
            </a:fld>
            <a:endParaRPr lang="en-GB"/>
          </a:p>
        </p:txBody>
      </p:sp>
      <p:sp>
        <p:nvSpPr>
          <p:cNvPr id="3" name="Content Placeholder 2">
            <a:extLst>
              <a:ext uri="{FF2B5EF4-FFF2-40B4-BE49-F238E27FC236}">
                <a16:creationId xmlns:a16="http://schemas.microsoft.com/office/drawing/2014/main" id="{CE1BC7D3-BAF4-4886-8107-DC6896636C1B}"/>
              </a:ext>
            </a:extLst>
          </p:cNvPr>
          <p:cNvSpPr>
            <a:spLocks noGrp="1"/>
          </p:cNvSpPr>
          <p:nvPr userDrawn="1">
            <p:ph idx="1"/>
          </p:nvPr>
        </p:nvSpPr>
        <p:spPr>
          <a:xfrm>
            <a:off x="6300316" y="1376364"/>
            <a:ext cx="5448770" cy="478948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50802254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62BC36-3243-45C6-B8D6-90C91E4CE113}"/>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388FEBB9-1991-46A8-82D5-20A2DAE344BB}"/>
              </a:ext>
            </a:extLst>
          </p:cNvPr>
          <p:cNvSpPr>
            <a:spLocks noGrp="1"/>
          </p:cNvSpPr>
          <p:nvPr>
            <p:ph sz="half" idx="1"/>
          </p:nvPr>
        </p:nvSpPr>
        <p:spPr>
          <a:xfrm>
            <a:off x="442914" y="1376365"/>
            <a:ext cx="5354628" cy="4789486"/>
          </a:xfrm>
        </p:spPr>
        <p:txBody>
          <a:bodyPr/>
          <a:lstStyle>
            <a:lvl5pPr marL="0" inden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a:extLst>
              <a:ext uri="{FF2B5EF4-FFF2-40B4-BE49-F238E27FC236}">
                <a16:creationId xmlns:a16="http://schemas.microsoft.com/office/drawing/2014/main" id="{0571CB3D-C781-4449-861E-1FA2E0B0744F}"/>
              </a:ext>
            </a:extLst>
          </p:cNvPr>
          <p:cNvSpPr>
            <a:spLocks noGrp="1"/>
          </p:cNvSpPr>
          <p:nvPr>
            <p:ph sz="half" idx="2"/>
          </p:nvPr>
        </p:nvSpPr>
        <p:spPr>
          <a:xfrm>
            <a:off x="6096000" y="1376363"/>
            <a:ext cx="5328592" cy="4789487"/>
          </a:xfrm>
        </p:spPr>
        <p:txBody>
          <a:bodyPr/>
          <a:lstStyle>
            <a:lvl5pPr marL="0" inden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Slide Number Placeholder 6">
            <a:extLst>
              <a:ext uri="{FF2B5EF4-FFF2-40B4-BE49-F238E27FC236}">
                <a16:creationId xmlns:a16="http://schemas.microsoft.com/office/drawing/2014/main" id="{B13D9E60-89CF-4BF4-BEF6-984080CABF90}"/>
              </a:ext>
            </a:extLst>
          </p:cNvPr>
          <p:cNvSpPr>
            <a:spLocks noGrp="1"/>
          </p:cNvSpPr>
          <p:nvPr>
            <p:ph type="sldNum" sz="quarter" idx="12"/>
          </p:nvPr>
        </p:nvSpPr>
        <p:spPr>
          <a:xfrm>
            <a:off x="11278800" y="6400800"/>
            <a:ext cx="442800" cy="226800"/>
          </a:xfrm>
        </p:spPr>
        <p:txBody>
          <a:bodyPr vert="horz" lIns="0" tIns="0" rIns="0" bIns="0" rtlCol="0" anchor="t" anchorCtr="0">
            <a:noAutofit/>
          </a:bodyPr>
          <a:lstStyle>
            <a:lvl1pPr>
              <a:defRPr lang="en-GB" smtClean="0"/>
            </a:lvl1pPr>
          </a:lstStyle>
          <a:p>
            <a:pPr algn="r">
              <a:lnSpc>
                <a:spcPts val="970"/>
              </a:lnSpc>
            </a:pPr>
            <a:fld id="{24A935F8-6F02-46CF-898B-F9D6B7DB9D8E}" type="slidenum">
              <a:rPr lang="en-GB" smtClean="0"/>
              <a:pPr algn="r">
                <a:lnSpc>
                  <a:spcPts val="970"/>
                </a:lnSpc>
              </a:pPr>
              <a:t>‹#›</a:t>
            </a:fld>
            <a:endParaRPr lang="en-GB"/>
          </a:p>
        </p:txBody>
      </p:sp>
    </p:spTree>
    <p:extLst>
      <p:ext uri="{BB962C8B-B14F-4D97-AF65-F5344CB8AC3E}">
        <p14:creationId xmlns:p14="http://schemas.microsoft.com/office/powerpoint/2010/main" val="37293703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2_Title Slide">
    <p:spTree>
      <p:nvGrpSpPr>
        <p:cNvPr id="1" name=""/>
        <p:cNvGrpSpPr/>
        <p:nvPr/>
      </p:nvGrpSpPr>
      <p:grpSpPr>
        <a:xfrm>
          <a:off x="0" y="0"/>
          <a:ext cx="0" cy="0"/>
          <a:chOff x="0" y="0"/>
          <a:chExt cx="0" cy="0"/>
        </a:xfrm>
      </p:grpSpPr>
      <p:sp>
        <p:nvSpPr>
          <p:cNvPr id="32" name="Oval 31">
            <a:extLst>
              <a:ext uri="{FF2B5EF4-FFF2-40B4-BE49-F238E27FC236}">
                <a16:creationId xmlns:a16="http://schemas.microsoft.com/office/drawing/2014/main" id="{113B8953-29ED-C446-921B-EAE5BA34678E}"/>
              </a:ext>
            </a:extLst>
          </p:cNvPr>
          <p:cNvSpPr/>
          <p:nvPr userDrawn="1"/>
        </p:nvSpPr>
        <p:spPr>
          <a:xfrm flipH="1">
            <a:off x="9024728" y="783820"/>
            <a:ext cx="1782639" cy="1772289"/>
          </a:xfrm>
          <a:prstGeom prst="ellipse">
            <a:avLst/>
          </a:prstGeom>
          <a:gradFill flip="none" rotWithShape="1">
            <a:gsLst>
              <a:gs pos="54000">
                <a:schemeClr val="accent1"/>
              </a:gs>
              <a:gs pos="0">
                <a:schemeClr val="accent1">
                  <a:alpha val="0"/>
                </a:schemeClr>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sp>
        <p:nvSpPr>
          <p:cNvPr id="33" name="Oval 32">
            <a:extLst>
              <a:ext uri="{FF2B5EF4-FFF2-40B4-BE49-F238E27FC236}">
                <a16:creationId xmlns:a16="http://schemas.microsoft.com/office/drawing/2014/main" id="{32B87DB6-4C8D-334D-9D2B-3AB7D32752E8}"/>
              </a:ext>
            </a:extLst>
          </p:cNvPr>
          <p:cNvSpPr/>
          <p:nvPr userDrawn="1"/>
        </p:nvSpPr>
        <p:spPr>
          <a:xfrm flipH="1">
            <a:off x="8005183" y="2721140"/>
            <a:ext cx="3771099" cy="3749205"/>
          </a:xfrm>
          <a:prstGeom prst="ellipse">
            <a:avLst/>
          </a:prstGeom>
          <a:gradFill flip="none" rotWithShape="1">
            <a:gsLst>
              <a:gs pos="46000">
                <a:schemeClr val="accent6"/>
              </a:gs>
              <a:gs pos="0">
                <a:schemeClr val="accent6">
                  <a:alpha val="60000"/>
                </a:schemeClr>
              </a:gs>
            </a:gsLst>
            <a:lin ang="6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grpSp>
        <p:nvGrpSpPr>
          <p:cNvPr id="27" name="Group 26">
            <a:extLst>
              <a:ext uri="{FF2B5EF4-FFF2-40B4-BE49-F238E27FC236}">
                <a16:creationId xmlns:a16="http://schemas.microsoft.com/office/drawing/2014/main" id="{150F206C-4432-2F47-B022-994F6C10F83D}"/>
              </a:ext>
            </a:extLst>
          </p:cNvPr>
          <p:cNvGrpSpPr/>
          <p:nvPr userDrawn="1"/>
        </p:nvGrpSpPr>
        <p:grpSpPr>
          <a:xfrm>
            <a:off x="471601" y="443753"/>
            <a:ext cx="1087896" cy="425720"/>
            <a:chOff x="3562350" y="3567113"/>
            <a:chExt cx="3476625" cy="1360487"/>
          </a:xfrm>
          <a:solidFill>
            <a:schemeClr val="accent1"/>
          </a:solidFill>
        </p:grpSpPr>
        <p:sp>
          <p:nvSpPr>
            <p:cNvPr id="28" name="Freeform 1">
              <a:extLst>
                <a:ext uri="{FF2B5EF4-FFF2-40B4-BE49-F238E27FC236}">
                  <a16:creationId xmlns:a16="http://schemas.microsoft.com/office/drawing/2014/main" id="{0E2C9D99-3360-AE42-BEAD-F46B423ACA9C}"/>
                </a:ext>
              </a:extLst>
            </p:cNvPr>
            <p:cNvSpPr>
              <a:spLocks noChangeArrowheads="1"/>
            </p:cNvSpPr>
            <p:nvPr/>
          </p:nvSpPr>
          <p:spPr bwMode="auto">
            <a:xfrm>
              <a:off x="4710113" y="3800475"/>
              <a:ext cx="1136650" cy="1127125"/>
            </a:xfrm>
            <a:custGeom>
              <a:avLst/>
              <a:gdLst>
                <a:gd name="T0" fmla="*/ 10 w 3158"/>
                <a:gd name="T1" fmla="*/ 1539 h 3130"/>
                <a:gd name="T2" fmla="*/ 1599 w 3158"/>
                <a:gd name="T3" fmla="*/ 13 h 3130"/>
                <a:gd name="T4" fmla="*/ 3148 w 3158"/>
                <a:gd name="T5" fmla="*/ 1584 h 3130"/>
                <a:gd name="T6" fmla="*/ 1560 w 3158"/>
                <a:gd name="T7" fmla="*/ 3116 h 3130"/>
                <a:gd name="T8" fmla="*/ 10 w 3158"/>
                <a:gd name="T9" fmla="*/ 1545 h 3130"/>
                <a:gd name="T10" fmla="*/ 10 w 3158"/>
                <a:gd name="T11" fmla="*/ 1539 h 3130"/>
                <a:gd name="T12" fmla="*/ 711 w 3158"/>
                <a:gd name="T13" fmla="*/ 1553 h 3130"/>
                <a:gd name="T14" fmla="*/ 1568 w 3158"/>
                <a:gd name="T15" fmla="*/ 2456 h 3130"/>
                <a:gd name="T16" fmla="*/ 2446 w 3158"/>
                <a:gd name="T17" fmla="*/ 1570 h 3130"/>
                <a:gd name="T18" fmla="*/ 1591 w 3158"/>
                <a:gd name="T19" fmla="*/ 662 h 3130"/>
                <a:gd name="T20" fmla="*/ 712 w 3158"/>
                <a:gd name="T21" fmla="*/ 1548 h 3130"/>
                <a:gd name="T22" fmla="*/ 711 w 3158"/>
                <a:gd name="T23" fmla="*/ 1553 h 3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58" h="3130">
                  <a:moveTo>
                    <a:pt x="10" y="1539"/>
                  </a:moveTo>
                  <a:cubicBezTo>
                    <a:pt x="19" y="790"/>
                    <a:pt x="578" y="0"/>
                    <a:pt x="1599" y="13"/>
                  </a:cubicBezTo>
                  <a:cubicBezTo>
                    <a:pt x="2619" y="26"/>
                    <a:pt x="3157" y="830"/>
                    <a:pt x="3148" y="1584"/>
                  </a:cubicBezTo>
                  <a:cubicBezTo>
                    <a:pt x="3138" y="2341"/>
                    <a:pt x="2579" y="3129"/>
                    <a:pt x="1560" y="3116"/>
                  </a:cubicBezTo>
                  <a:cubicBezTo>
                    <a:pt x="539" y="3104"/>
                    <a:pt x="0" y="2302"/>
                    <a:pt x="10" y="1545"/>
                  </a:cubicBezTo>
                  <a:lnTo>
                    <a:pt x="10" y="1539"/>
                  </a:lnTo>
                  <a:close/>
                  <a:moveTo>
                    <a:pt x="711" y="1553"/>
                  </a:moveTo>
                  <a:cubicBezTo>
                    <a:pt x="705" y="2065"/>
                    <a:pt x="1089" y="2451"/>
                    <a:pt x="1568" y="2456"/>
                  </a:cubicBezTo>
                  <a:cubicBezTo>
                    <a:pt x="2047" y="2462"/>
                    <a:pt x="2440" y="2087"/>
                    <a:pt x="2446" y="1570"/>
                  </a:cubicBezTo>
                  <a:cubicBezTo>
                    <a:pt x="2453" y="1054"/>
                    <a:pt x="2070" y="669"/>
                    <a:pt x="1591" y="662"/>
                  </a:cubicBezTo>
                  <a:cubicBezTo>
                    <a:pt x="1112" y="656"/>
                    <a:pt x="718" y="1032"/>
                    <a:pt x="712" y="1548"/>
                  </a:cubicBezTo>
                  <a:lnTo>
                    <a:pt x="711" y="1553"/>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a:p>
          </p:txBody>
        </p:sp>
        <p:sp>
          <p:nvSpPr>
            <p:cNvPr id="29" name="Freeform 2">
              <a:extLst>
                <a:ext uri="{FF2B5EF4-FFF2-40B4-BE49-F238E27FC236}">
                  <a16:creationId xmlns:a16="http://schemas.microsoft.com/office/drawing/2014/main" id="{01129673-A516-3344-AB3D-0A85484E41A6}"/>
                </a:ext>
              </a:extLst>
            </p:cNvPr>
            <p:cNvSpPr>
              <a:spLocks noChangeArrowheads="1"/>
            </p:cNvSpPr>
            <p:nvPr/>
          </p:nvSpPr>
          <p:spPr bwMode="auto">
            <a:xfrm>
              <a:off x="5969000" y="3567113"/>
              <a:ext cx="455613" cy="1338262"/>
            </a:xfrm>
            <a:custGeom>
              <a:avLst/>
              <a:gdLst>
                <a:gd name="T0" fmla="*/ 971 w 1264"/>
                <a:gd name="T1" fmla="*/ 3165 h 3717"/>
                <a:gd name="T2" fmla="*/ 765 w 1264"/>
                <a:gd name="T3" fmla="*/ 2983 h 3717"/>
                <a:gd name="T4" fmla="*/ 803 w 1264"/>
                <a:gd name="T5" fmla="*/ 9 h 3717"/>
                <a:gd name="T6" fmla="*/ 101 w 1264"/>
                <a:gd name="T7" fmla="*/ 0 h 3717"/>
                <a:gd name="T8" fmla="*/ 64 w 1264"/>
                <a:gd name="T9" fmla="*/ 2965 h 3717"/>
                <a:gd name="T10" fmla="*/ 696 w 1264"/>
                <a:gd name="T11" fmla="*/ 3708 h 3717"/>
                <a:gd name="T12" fmla="*/ 696 w 1264"/>
                <a:gd name="T13" fmla="*/ 3709 h 3717"/>
                <a:gd name="T14" fmla="*/ 1256 w 1264"/>
                <a:gd name="T15" fmla="*/ 3716 h 3717"/>
                <a:gd name="T16" fmla="*/ 1263 w 1264"/>
                <a:gd name="T17" fmla="*/ 3168 h 3717"/>
                <a:gd name="T18" fmla="*/ 971 w 1264"/>
                <a:gd name="T19" fmla="*/ 3165 h 37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64" h="3717">
                  <a:moveTo>
                    <a:pt x="971" y="3165"/>
                  </a:moveTo>
                  <a:cubicBezTo>
                    <a:pt x="971" y="3165"/>
                    <a:pt x="768" y="3164"/>
                    <a:pt x="765" y="2983"/>
                  </a:cubicBezTo>
                  <a:lnTo>
                    <a:pt x="803" y="9"/>
                  </a:lnTo>
                  <a:lnTo>
                    <a:pt x="101" y="0"/>
                  </a:lnTo>
                  <a:lnTo>
                    <a:pt x="64" y="2965"/>
                  </a:lnTo>
                  <a:cubicBezTo>
                    <a:pt x="64" y="2965"/>
                    <a:pt x="0" y="3699"/>
                    <a:pt x="696" y="3708"/>
                  </a:cubicBezTo>
                  <a:lnTo>
                    <a:pt x="696" y="3709"/>
                  </a:lnTo>
                  <a:lnTo>
                    <a:pt x="1256" y="3716"/>
                  </a:lnTo>
                  <a:lnTo>
                    <a:pt x="1263" y="3168"/>
                  </a:lnTo>
                  <a:lnTo>
                    <a:pt x="971" y="316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a:p>
          </p:txBody>
        </p:sp>
        <p:sp>
          <p:nvSpPr>
            <p:cNvPr id="30" name="Freeform 3">
              <a:extLst>
                <a:ext uri="{FF2B5EF4-FFF2-40B4-BE49-F238E27FC236}">
                  <a16:creationId xmlns:a16="http://schemas.microsoft.com/office/drawing/2014/main" id="{C608805B-41CC-1643-BA14-81DCF04DF49F}"/>
                </a:ext>
              </a:extLst>
            </p:cNvPr>
            <p:cNvSpPr>
              <a:spLocks noChangeArrowheads="1"/>
            </p:cNvSpPr>
            <p:nvPr/>
          </p:nvSpPr>
          <p:spPr bwMode="auto">
            <a:xfrm>
              <a:off x="3562350" y="3786188"/>
              <a:ext cx="1069975" cy="1127125"/>
            </a:xfrm>
            <a:custGeom>
              <a:avLst/>
              <a:gdLst>
                <a:gd name="T0" fmla="*/ 2366 w 2971"/>
                <a:gd name="T1" fmla="*/ 1976 h 3132"/>
                <a:gd name="T2" fmla="*/ 1569 w 2971"/>
                <a:gd name="T3" fmla="*/ 2468 h 3132"/>
                <a:gd name="T4" fmla="*/ 716 w 2971"/>
                <a:gd name="T5" fmla="*/ 1556 h 3132"/>
                <a:gd name="T6" fmla="*/ 966 w 2971"/>
                <a:gd name="T7" fmla="*/ 910 h 3132"/>
                <a:gd name="T8" fmla="*/ 1593 w 2971"/>
                <a:gd name="T9" fmla="*/ 667 h 3132"/>
                <a:gd name="T10" fmla="*/ 2376 w 2971"/>
                <a:gd name="T11" fmla="*/ 1201 h 3132"/>
                <a:gd name="T12" fmla="*/ 2970 w 2971"/>
                <a:gd name="T13" fmla="*/ 871 h 3132"/>
                <a:gd name="T14" fmla="*/ 1576 w 2971"/>
                <a:gd name="T15" fmla="*/ 12 h 3132"/>
                <a:gd name="T16" fmla="*/ 11 w 2971"/>
                <a:gd name="T17" fmla="*/ 1545 h 3132"/>
                <a:gd name="T18" fmla="*/ 1559 w 2971"/>
                <a:gd name="T19" fmla="*/ 3123 h 3132"/>
                <a:gd name="T20" fmla="*/ 2950 w 2971"/>
                <a:gd name="T21" fmla="*/ 2314 h 3132"/>
                <a:gd name="T22" fmla="*/ 2379 w 2971"/>
                <a:gd name="T23" fmla="*/ 1977 h 3132"/>
                <a:gd name="T24" fmla="*/ 2366 w 2971"/>
                <a:gd name="T25" fmla="*/ 1976 h 3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71" h="3132">
                  <a:moveTo>
                    <a:pt x="2366" y="1976"/>
                  </a:moveTo>
                  <a:cubicBezTo>
                    <a:pt x="2256" y="2216"/>
                    <a:pt x="2006" y="2472"/>
                    <a:pt x="1569" y="2468"/>
                  </a:cubicBezTo>
                  <a:cubicBezTo>
                    <a:pt x="1072" y="2462"/>
                    <a:pt x="710" y="2081"/>
                    <a:pt x="716" y="1556"/>
                  </a:cubicBezTo>
                  <a:cubicBezTo>
                    <a:pt x="720" y="1300"/>
                    <a:pt x="815" y="1064"/>
                    <a:pt x="966" y="910"/>
                  </a:cubicBezTo>
                  <a:cubicBezTo>
                    <a:pt x="1138" y="742"/>
                    <a:pt x="1337" y="657"/>
                    <a:pt x="1593" y="667"/>
                  </a:cubicBezTo>
                  <a:cubicBezTo>
                    <a:pt x="1976" y="670"/>
                    <a:pt x="2254" y="891"/>
                    <a:pt x="2376" y="1201"/>
                  </a:cubicBezTo>
                  <a:lnTo>
                    <a:pt x="2970" y="871"/>
                  </a:lnTo>
                  <a:cubicBezTo>
                    <a:pt x="2716" y="350"/>
                    <a:pt x="2184" y="19"/>
                    <a:pt x="1576" y="12"/>
                  </a:cubicBezTo>
                  <a:cubicBezTo>
                    <a:pt x="696" y="0"/>
                    <a:pt x="22" y="683"/>
                    <a:pt x="11" y="1545"/>
                  </a:cubicBezTo>
                  <a:cubicBezTo>
                    <a:pt x="0" y="2384"/>
                    <a:pt x="634" y="3111"/>
                    <a:pt x="1559" y="3123"/>
                  </a:cubicBezTo>
                  <a:cubicBezTo>
                    <a:pt x="2184" y="3131"/>
                    <a:pt x="2691" y="2793"/>
                    <a:pt x="2950" y="2314"/>
                  </a:cubicBezTo>
                  <a:lnTo>
                    <a:pt x="2379" y="1977"/>
                  </a:lnTo>
                  <a:lnTo>
                    <a:pt x="2366" y="197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a:p>
          </p:txBody>
        </p:sp>
        <p:sp>
          <p:nvSpPr>
            <p:cNvPr id="31" name="Freeform 4">
              <a:extLst>
                <a:ext uri="{FF2B5EF4-FFF2-40B4-BE49-F238E27FC236}">
                  <a16:creationId xmlns:a16="http://schemas.microsoft.com/office/drawing/2014/main" id="{85045B5B-F6CB-DF46-89EC-00216D022074}"/>
                </a:ext>
              </a:extLst>
            </p:cNvPr>
            <p:cNvSpPr>
              <a:spLocks noChangeArrowheads="1"/>
            </p:cNvSpPr>
            <p:nvPr/>
          </p:nvSpPr>
          <p:spPr bwMode="auto">
            <a:xfrm>
              <a:off x="6546850" y="3575050"/>
              <a:ext cx="492125" cy="1338263"/>
            </a:xfrm>
            <a:custGeom>
              <a:avLst/>
              <a:gdLst>
                <a:gd name="T0" fmla="*/ 960 w 1365"/>
                <a:gd name="T1" fmla="*/ 3164 h 3718"/>
                <a:gd name="T2" fmla="*/ 753 w 1365"/>
                <a:gd name="T3" fmla="*/ 2983 h 3718"/>
                <a:gd name="T4" fmla="*/ 773 w 1365"/>
                <a:gd name="T5" fmla="*/ 1401 h 3718"/>
                <a:gd name="T6" fmla="*/ 1336 w 1365"/>
                <a:gd name="T7" fmla="*/ 1408 h 3718"/>
                <a:gd name="T8" fmla="*/ 1343 w 1365"/>
                <a:gd name="T9" fmla="*/ 860 h 3718"/>
                <a:gd name="T10" fmla="*/ 780 w 1365"/>
                <a:gd name="T11" fmla="*/ 853 h 3718"/>
                <a:gd name="T12" fmla="*/ 791 w 1365"/>
                <a:gd name="T13" fmla="*/ 9 h 3718"/>
                <a:gd name="T14" fmla="*/ 89 w 1365"/>
                <a:gd name="T15" fmla="*/ 0 h 3718"/>
                <a:gd name="T16" fmla="*/ 51 w 1365"/>
                <a:gd name="T17" fmla="*/ 2965 h 3718"/>
                <a:gd name="T18" fmla="*/ 683 w 1365"/>
                <a:gd name="T19" fmla="*/ 3708 h 3718"/>
                <a:gd name="T20" fmla="*/ 684 w 1365"/>
                <a:gd name="T21" fmla="*/ 3708 h 3718"/>
                <a:gd name="T22" fmla="*/ 1357 w 1365"/>
                <a:gd name="T23" fmla="*/ 3717 h 3718"/>
                <a:gd name="T24" fmla="*/ 1364 w 1365"/>
                <a:gd name="T25" fmla="*/ 3169 h 3718"/>
                <a:gd name="T26" fmla="*/ 960 w 1365"/>
                <a:gd name="T27" fmla="*/ 3164 h 3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65" h="3718">
                  <a:moveTo>
                    <a:pt x="960" y="3164"/>
                  </a:moveTo>
                  <a:cubicBezTo>
                    <a:pt x="960" y="3164"/>
                    <a:pt x="756" y="3164"/>
                    <a:pt x="753" y="2983"/>
                  </a:cubicBezTo>
                  <a:lnTo>
                    <a:pt x="773" y="1401"/>
                  </a:lnTo>
                  <a:lnTo>
                    <a:pt x="1336" y="1408"/>
                  </a:lnTo>
                  <a:lnTo>
                    <a:pt x="1343" y="860"/>
                  </a:lnTo>
                  <a:lnTo>
                    <a:pt x="780" y="853"/>
                  </a:lnTo>
                  <a:lnTo>
                    <a:pt x="791" y="9"/>
                  </a:lnTo>
                  <a:lnTo>
                    <a:pt x="89" y="0"/>
                  </a:lnTo>
                  <a:lnTo>
                    <a:pt x="51" y="2965"/>
                  </a:lnTo>
                  <a:cubicBezTo>
                    <a:pt x="51" y="2965"/>
                    <a:pt x="0" y="3701"/>
                    <a:pt x="683" y="3708"/>
                  </a:cubicBezTo>
                  <a:lnTo>
                    <a:pt x="684" y="3708"/>
                  </a:lnTo>
                  <a:lnTo>
                    <a:pt x="1357" y="3717"/>
                  </a:lnTo>
                  <a:lnTo>
                    <a:pt x="1364" y="3169"/>
                  </a:lnTo>
                  <a:lnTo>
                    <a:pt x="960" y="316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a:p>
          </p:txBody>
        </p:sp>
      </p:grpSp>
      <p:pic>
        <p:nvPicPr>
          <p:cNvPr id="37" name="Picture 36">
            <a:extLst>
              <a:ext uri="{FF2B5EF4-FFF2-40B4-BE49-F238E27FC236}">
                <a16:creationId xmlns:a16="http://schemas.microsoft.com/office/drawing/2014/main" id="{60139029-ED1D-EB41-A873-531499A673B1}"/>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flipH="1">
            <a:off x="4655840" y="512305"/>
            <a:ext cx="11411297" cy="6393485"/>
          </a:xfrm>
          <a:prstGeom prst="rect">
            <a:avLst/>
          </a:prstGeom>
        </p:spPr>
      </p:pic>
      <p:sp>
        <p:nvSpPr>
          <p:cNvPr id="53" name="Circle: Hollow 93">
            <a:extLst>
              <a:ext uri="{FF2B5EF4-FFF2-40B4-BE49-F238E27FC236}">
                <a16:creationId xmlns:a16="http://schemas.microsoft.com/office/drawing/2014/main" id="{F2B8F35D-0593-934D-B35B-F05CE154C80A}"/>
              </a:ext>
            </a:extLst>
          </p:cNvPr>
          <p:cNvSpPr/>
          <p:nvPr userDrawn="1"/>
        </p:nvSpPr>
        <p:spPr>
          <a:xfrm flipH="1">
            <a:off x="5858896" y="2053373"/>
            <a:ext cx="179479" cy="178437"/>
          </a:xfrm>
          <a:prstGeom prst="donut">
            <a:avLst>
              <a:gd name="adj" fmla="val 19327"/>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sp>
        <p:nvSpPr>
          <p:cNvPr id="42" name="Oval 41">
            <a:extLst>
              <a:ext uri="{FF2B5EF4-FFF2-40B4-BE49-F238E27FC236}">
                <a16:creationId xmlns:a16="http://schemas.microsoft.com/office/drawing/2014/main" id="{8FCE2790-2989-5A48-B385-5D6492DED087}"/>
              </a:ext>
            </a:extLst>
          </p:cNvPr>
          <p:cNvSpPr/>
          <p:nvPr userDrawn="1"/>
        </p:nvSpPr>
        <p:spPr>
          <a:xfrm flipH="1">
            <a:off x="7917265" y="588683"/>
            <a:ext cx="326810" cy="32491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sp>
        <p:nvSpPr>
          <p:cNvPr id="43" name="Circle: Hollow 13">
            <a:extLst>
              <a:ext uri="{FF2B5EF4-FFF2-40B4-BE49-F238E27FC236}">
                <a16:creationId xmlns:a16="http://schemas.microsoft.com/office/drawing/2014/main" id="{9B9EE8BE-8D56-6148-9545-E4AA41A6A170}"/>
              </a:ext>
            </a:extLst>
          </p:cNvPr>
          <p:cNvSpPr/>
          <p:nvPr userDrawn="1"/>
        </p:nvSpPr>
        <p:spPr>
          <a:xfrm flipH="1">
            <a:off x="-1569072" y="4937470"/>
            <a:ext cx="2823903" cy="2807508"/>
          </a:xfrm>
          <a:prstGeom prst="donut">
            <a:avLst>
              <a:gd name="adj" fmla="val 1743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sp>
        <p:nvSpPr>
          <p:cNvPr id="49" name="Oval 48">
            <a:extLst>
              <a:ext uri="{FF2B5EF4-FFF2-40B4-BE49-F238E27FC236}">
                <a16:creationId xmlns:a16="http://schemas.microsoft.com/office/drawing/2014/main" id="{DE36CC58-FBC2-F04F-A843-26825126336D}"/>
              </a:ext>
            </a:extLst>
          </p:cNvPr>
          <p:cNvSpPr/>
          <p:nvPr userDrawn="1"/>
        </p:nvSpPr>
        <p:spPr>
          <a:xfrm flipH="1">
            <a:off x="11625331" y="1028865"/>
            <a:ext cx="175648" cy="17462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sp>
        <p:nvSpPr>
          <p:cNvPr id="50" name="Oval 49">
            <a:extLst>
              <a:ext uri="{FF2B5EF4-FFF2-40B4-BE49-F238E27FC236}">
                <a16:creationId xmlns:a16="http://schemas.microsoft.com/office/drawing/2014/main" id="{715E7622-9B0B-C74E-AC0E-9FB806539022}"/>
              </a:ext>
            </a:extLst>
          </p:cNvPr>
          <p:cNvSpPr/>
          <p:nvPr userDrawn="1"/>
        </p:nvSpPr>
        <p:spPr>
          <a:xfrm flipH="1">
            <a:off x="8026708" y="1106549"/>
            <a:ext cx="141160" cy="1403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sp>
        <p:nvSpPr>
          <p:cNvPr id="52" name="Oval 51">
            <a:extLst>
              <a:ext uri="{FF2B5EF4-FFF2-40B4-BE49-F238E27FC236}">
                <a16:creationId xmlns:a16="http://schemas.microsoft.com/office/drawing/2014/main" id="{58428350-0A57-4E48-BEC6-246AFD34D341}"/>
              </a:ext>
            </a:extLst>
          </p:cNvPr>
          <p:cNvSpPr/>
          <p:nvPr userDrawn="1"/>
        </p:nvSpPr>
        <p:spPr>
          <a:xfrm flipH="1">
            <a:off x="6038375" y="983447"/>
            <a:ext cx="141160" cy="14034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sp>
        <p:nvSpPr>
          <p:cNvPr id="54" name="Oval 53">
            <a:extLst>
              <a:ext uri="{FF2B5EF4-FFF2-40B4-BE49-F238E27FC236}">
                <a16:creationId xmlns:a16="http://schemas.microsoft.com/office/drawing/2014/main" id="{CFB86D6E-A546-7F4D-A625-084EA2E5DED8}"/>
              </a:ext>
            </a:extLst>
          </p:cNvPr>
          <p:cNvSpPr/>
          <p:nvPr userDrawn="1"/>
        </p:nvSpPr>
        <p:spPr>
          <a:xfrm flipH="1">
            <a:off x="7679759" y="3442270"/>
            <a:ext cx="149036" cy="148171"/>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sp>
        <p:nvSpPr>
          <p:cNvPr id="55" name="Circle: Hollow 96">
            <a:extLst>
              <a:ext uri="{FF2B5EF4-FFF2-40B4-BE49-F238E27FC236}">
                <a16:creationId xmlns:a16="http://schemas.microsoft.com/office/drawing/2014/main" id="{E7854408-6B93-F94A-B50F-3A23C07423FF}"/>
              </a:ext>
            </a:extLst>
          </p:cNvPr>
          <p:cNvSpPr/>
          <p:nvPr userDrawn="1"/>
        </p:nvSpPr>
        <p:spPr>
          <a:xfrm flipH="1">
            <a:off x="7444224" y="5540373"/>
            <a:ext cx="150632" cy="149757"/>
          </a:xfrm>
          <a:prstGeom prst="donut">
            <a:avLst>
              <a:gd name="adj" fmla="val 25844"/>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sp>
        <p:nvSpPr>
          <p:cNvPr id="58" name="Rectangle: Rounded Corners 21">
            <a:extLst>
              <a:ext uri="{FF2B5EF4-FFF2-40B4-BE49-F238E27FC236}">
                <a16:creationId xmlns:a16="http://schemas.microsoft.com/office/drawing/2014/main" id="{4DEBFB7C-F3C6-2F4B-BFF3-41F0BABEDFD8}"/>
              </a:ext>
            </a:extLst>
          </p:cNvPr>
          <p:cNvSpPr/>
          <p:nvPr userDrawn="1"/>
        </p:nvSpPr>
        <p:spPr>
          <a:xfrm rot="18000000" flipH="1">
            <a:off x="10352125" y="4386402"/>
            <a:ext cx="957461" cy="3949310"/>
          </a:xfrm>
          <a:prstGeom prst="roundRect">
            <a:avLst>
              <a:gd name="adj" fmla="val 50000"/>
            </a:avLst>
          </a:prstGeom>
          <a:gradFill flip="none" rotWithShape="1">
            <a:gsLst>
              <a:gs pos="93000">
                <a:schemeClr val="accent4">
                  <a:alpha val="0"/>
                </a:schemeClr>
              </a:gs>
              <a:gs pos="29000">
                <a:schemeClr val="accent4"/>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sp>
        <p:nvSpPr>
          <p:cNvPr id="59" name="Rectangle: Rounded Corners 51">
            <a:extLst>
              <a:ext uri="{FF2B5EF4-FFF2-40B4-BE49-F238E27FC236}">
                <a16:creationId xmlns:a16="http://schemas.microsoft.com/office/drawing/2014/main" id="{078DBAC9-4235-D44D-9C5E-710CC3F40EE6}"/>
              </a:ext>
            </a:extLst>
          </p:cNvPr>
          <p:cNvSpPr/>
          <p:nvPr userDrawn="1"/>
        </p:nvSpPr>
        <p:spPr>
          <a:xfrm rot="18000000" flipH="1">
            <a:off x="9824895" y="4133218"/>
            <a:ext cx="1045378" cy="3064890"/>
          </a:xfrm>
          <a:prstGeom prst="roundRect">
            <a:avLst>
              <a:gd name="adj" fmla="val 50000"/>
            </a:avLst>
          </a:prstGeom>
          <a:gradFill flip="none" rotWithShape="1">
            <a:gsLst>
              <a:gs pos="41000">
                <a:schemeClr val="accent5">
                  <a:alpha val="80000"/>
                </a:schemeClr>
              </a:gs>
              <a:gs pos="92000">
                <a:schemeClr val="accent5">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sp>
        <p:nvSpPr>
          <p:cNvPr id="60" name="Oval 59">
            <a:extLst>
              <a:ext uri="{FF2B5EF4-FFF2-40B4-BE49-F238E27FC236}">
                <a16:creationId xmlns:a16="http://schemas.microsoft.com/office/drawing/2014/main" id="{F6749FB1-764B-404D-BF7B-08EEFF5FB555}"/>
              </a:ext>
            </a:extLst>
          </p:cNvPr>
          <p:cNvSpPr/>
          <p:nvPr userDrawn="1"/>
        </p:nvSpPr>
        <p:spPr>
          <a:xfrm flipH="1">
            <a:off x="11226403" y="1193964"/>
            <a:ext cx="363803" cy="36169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sp>
        <p:nvSpPr>
          <p:cNvPr id="61" name="Rectangle: Rounded Corners 23">
            <a:extLst>
              <a:ext uri="{FF2B5EF4-FFF2-40B4-BE49-F238E27FC236}">
                <a16:creationId xmlns:a16="http://schemas.microsoft.com/office/drawing/2014/main" id="{EB3755B0-041A-934D-8C62-D0F72451B50E}"/>
              </a:ext>
            </a:extLst>
          </p:cNvPr>
          <p:cNvSpPr/>
          <p:nvPr userDrawn="1"/>
        </p:nvSpPr>
        <p:spPr>
          <a:xfrm rot="18000000" flipH="1">
            <a:off x="11295137" y="1661000"/>
            <a:ext cx="590947" cy="1922416"/>
          </a:xfrm>
          <a:prstGeom prst="roundRect">
            <a:avLst>
              <a:gd name="adj" fmla="val 50000"/>
            </a:avLst>
          </a:prstGeom>
          <a:gradFill flip="none" rotWithShape="1">
            <a:gsLst>
              <a:gs pos="20000">
                <a:schemeClr val="accent6">
                  <a:alpha val="86000"/>
                </a:schemeClr>
              </a:gs>
              <a:gs pos="90000">
                <a:schemeClr val="accent6">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sp>
        <p:nvSpPr>
          <p:cNvPr id="62" name="Rectangle: Rounded Corners 18">
            <a:extLst>
              <a:ext uri="{FF2B5EF4-FFF2-40B4-BE49-F238E27FC236}">
                <a16:creationId xmlns:a16="http://schemas.microsoft.com/office/drawing/2014/main" id="{91937420-3690-2A4C-80F8-E21BA22EDAAD}"/>
              </a:ext>
            </a:extLst>
          </p:cNvPr>
          <p:cNvSpPr/>
          <p:nvPr userDrawn="1"/>
        </p:nvSpPr>
        <p:spPr>
          <a:xfrm rot="18000000" flipH="1">
            <a:off x="10386223" y="4553952"/>
            <a:ext cx="666018" cy="1733255"/>
          </a:xfrm>
          <a:prstGeom prst="roundRect">
            <a:avLst>
              <a:gd name="adj" fmla="val 50000"/>
            </a:avLst>
          </a:prstGeom>
          <a:gradFill flip="none" rotWithShape="1">
            <a:gsLst>
              <a:gs pos="26000">
                <a:schemeClr val="accent3">
                  <a:alpha val="70000"/>
                </a:schemeClr>
              </a:gs>
              <a:gs pos="82000">
                <a:schemeClr val="accent3">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pic>
        <p:nvPicPr>
          <p:cNvPr id="63" name="Picture 62">
            <a:extLst>
              <a:ext uri="{FF2B5EF4-FFF2-40B4-BE49-F238E27FC236}">
                <a16:creationId xmlns:a16="http://schemas.microsoft.com/office/drawing/2014/main" id="{2D33272B-02DA-1F42-9311-22FFFDF87E83}"/>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flipH="1">
            <a:off x="9996857" y="4485036"/>
            <a:ext cx="2352598" cy="2472762"/>
          </a:xfrm>
          <a:prstGeom prst="rect">
            <a:avLst/>
          </a:prstGeom>
        </p:spPr>
      </p:pic>
      <p:sp>
        <p:nvSpPr>
          <p:cNvPr id="64" name="Oval 63">
            <a:extLst>
              <a:ext uri="{FF2B5EF4-FFF2-40B4-BE49-F238E27FC236}">
                <a16:creationId xmlns:a16="http://schemas.microsoft.com/office/drawing/2014/main" id="{70C670FB-9392-0C4F-9BC6-FEFB8A68CAA4}"/>
              </a:ext>
            </a:extLst>
          </p:cNvPr>
          <p:cNvSpPr/>
          <p:nvPr userDrawn="1"/>
        </p:nvSpPr>
        <p:spPr>
          <a:xfrm flipH="1">
            <a:off x="7754277" y="3415730"/>
            <a:ext cx="694692" cy="69066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sp>
        <p:nvSpPr>
          <p:cNvPr id="65" name="Title 1">
            <a:extLst>
              <a:ext uri="{FF2B5EF4-FFF2-40B4-BE49-F238E27FC236}">
                <a16:creationId xmlns:a16="http://schemas.microsoft.com/office/drawing/2014/main" id="{51BB9C45-FE9E-EF47-A1BD-112DBDC85206}"/>
              </a:ext>
            </a:extLst>
          </p:cNvPr>
          <p:cNvSpPr>
            <a:spLocks noGrp="1"/>
          </p:cNvSpPr>
          <p:nvPr>
            <p:ph type="ctrTitle" hasCustomPrompt="1"/>
          </p:nvPr>
        </p:nvSpPr>
        <p:spPr>
          <a:xfrm>
            <a:off x="1343025" y="2286000"/>
            <a:ext cx="5616575" cy="1884008"/>
          </a:xfrm>
        </p:spPr>
        <p:txBody>
          <a:bodyPr>
            <a:normAutofit/>
          </a:bodyPr>
          <a:lstStyle>
            <a:lvl1pPr marL="0" indent="0" algn="l">
              <a:lnSpc>
                <a:spcPct val="100000"/>
              </a:lnSpc>
              <a:buFont typeface="Arial" panose="020B0604020202020204" pitchFamily="34" charset="0"/>
              <a:buNone/>
              <a:defRPr sz="5400" b="1" i="0" baseline="0">
                <a:solidFill>
                  <a:schemeClr val="accent1"/>
                </a:solidFill>
              </a:defRPr>
            </a:lvl1pPr>
          </a:lstStyle>
          <a:p>
            <a:r>
              <a:rPr lang="en-GB" dirty="0"/>
              <a:t>Title Slide</a:t>
            </a:r>
            <a:endParaRPr lang="en-GB" noProof="0" dirty="0"/>
          </a:p>
        </p:txBody>
      </p:sp>
      <p:sp>
        <p:nvSpPr>
          <p:cNvPr id="66" name="Subtitle 2">
            <a:extLst>
              <a:ext uri="{FF2B5EF4-FFF2-40B4-BE49-F238E27FC236}">
                <a16:creationId xmlns:a16="http://schemas.microsoft.com/office/drawing/2014/main" id="{B7EAF961-034B-7A45-A8BB-D40A520B9C9B}"/>
              </a:ext>
            </a:extLst>
          </p:cNvPr>
          <p:cNvSpPr>
            <a:spLocks noGrp="1"/>
          </p:cNvSpPr>
          <p:nvPr>
            <p:ph type="subTitle" idx="1"/>
          </p:nvPr>
        </p:nvSpPr>
        <p:spPr>
          <a:xfrm>
            <a:off x="1343025" y="4170008"/>
            <a:ext cx="5597668" cy="1154381"/>
          </a:xfrm>
        </p:spPr>
        <p:txBody>
          <a:bodyPr>
            <a:normAutofit/>
          </a:bodyPr>
          <a:lstStyle>
            <a:lvl1pPr marL="0" indent="0" algn="l">
              <a:lnSpc>
                <a:spcPct val="100000"/>
              </a:lnSpc>
              <a:spcAft>
                <a:spcPts val="0"/>
              </a:spcAft>
              <a:buFont typeface="Arial" panose="020B0604020202020204" pitchFamily="34" charset="0"/>
              <a:buNone/>
              <a:defRPr sz="2800">
                <a:solidFill>
                  <a:schemeClr val="accent4"/>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Click to edit Master subtitle style</a:t>
            </a:r>
            <a:endParaRPr lang="en-GB" noProof="0" dirty="0"/>
          </a:p>
        </p:txBody>
      </p:sp>
      <p:sp>
        <p:nvSpPr>
          <p:cNvPr id="67" name="Date Placeholder 3">
            <a:extLst>
              <a:ext uri="{FF2B5EF4-FFF2-40B4-BE49-F238E27FC236}">
                <a16:creationId xmlns:a16="http://schemas.microsoft.com/office/drawing/2014/main" id="{839449D2-A520-6842-A2E7-A327225AFD65}"/>
              </a:ext>
            </a:extLst>
          </p:cNvPr>
          <p:cNvSpPr>
            <a:spLocks noGrp="1"/>
          </p:cNvSpPr>
          <p:nvPr>
            <p:ph type="dt" sz="half" idx="10"/>
          </p:nvPr>
        </p:nvSpPr>
        <p:spPr>
          <a:xfrm>
            <a:off x="1343025" y="5324388"/>
            <a:ext cx="3776460" cy="339811"/>
          </a:xfrm>
          <a:prstGeom prst="rect">
            <a:avLst/>
          </a:prstGeom>
        </p:spPr>
        <p:txBody>
          <a:bodyPr anchor="t" anchorCtr="0"/>
          <a:lstStyle>
            <a:lvl1pPr>
              <a:lnSpc>
                <a:spcPts val="1590"/>
              </a:lnSpc>
              <a:defRPr sz="1410" b="1">
                <a:solidFill>
                  <a:schemeClr val="accent6"/>
                </a:solidFill>
              </a:defRPr>
            </a:lvl1pPr>
          </a:lstStyle>
          <a:p>
            <a:r>
              <a:rPr lang="en-GB" dirty="0"/>
              <a:t>Date</a:t>
            </a:r>
          </a:p>
        </p:txBody>
      </p:sp>
    </p:spTree>
    <p:extLst>
      <p:ext uri="{BB962C8B-B14F-4D97-AF65-F5344CB8AC3E}">
        <p14:creationId xmlns:p14="http://schemas.microsoft.com/office/powerpoint/2010/main" val="1169113216"/>
      </p:ext>
    </p:extLst>
  </p:cSld>
  <p:clrMapOvr>
    <a:masterClrMapping/>
  </p:clrMapOvr>
  <p:extLst>
    <p:ext uri="{DCECCB84-F9BA-43D5-87BE-67443E8EF086}">
      <p15:sldGuideLst xmlns:p15="http://schemas.microsoft.com/office/powerpoint/2012/main">
        <p15:guide id="1" orient="horz" pos="3703">
          <p15:clr>
            <a:srgbClr val="FBAE40"/>
          </p15:clr>
        </p15:guide>
        <p15:guide id="2" pos="4384">
          <p15:clr>
            <a:srgbClr val="FBAE40"/>
          </p15:clr>
        </p15:guide>
        <p15:guide id="3" pos="846">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86DBC5C-C566-4F39-9723-F7D657E59B2D}"/>
              </a:ext>
            </a:extLst>
          </p:cNvPr>
          <p:cNvSpPr>
            <a:spLocks noGrp="1"/>
          </p:cNvSpPr>
          <p:nvPr>
            <p:ph type="body" idx="1"/>
          </p:nvPr>
        </p:nvSpPr>
        <p:spPr>
          <a:xfrm>
            <a:off x="442910" y="1376363"/>
            <a:ext cx="5328593" cy="593114"/>
          </a:xfrm>
        </p:spPr>
        <p:txBody>
          <a:bodyPr anchor="t">
            <a:normAutofit/>
          </a:bodyPr>
          <a:lstStyle>
            <a:lvl1pPr marL="0" indent="0">
              <a:buNone/>
              <a:defRPr sz="20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a:extLst>
              <a:ext uri="{FF2B5EF4-FFF2-40B4-BE49-F238E27FC236}">
                <a16:creationId xmlns:a16="http://schemas.microsoft.com/office/drawing/2014/main" id="{7FB17CA9-1BA5-47A1-8ABC-706D96107DA6}"/>
              </a:ext>
            </a:extLst>
          </p:cNvPr>
          <p:cNvSpPr>
            <a:spLocks noGrp="1"/>
          </p:cNvSpPr>
          <p:nvPr>
            <p:ph sz="half" idx="2"/>
          </p:nvPr>
        </p:nvSpPr>
        <p:spPr>
          <a:xfrm>
            <a:off x="442911" y="1969477"/>
            <a:ext cx="5328593" cy="419637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Text Placeholder 4">
            <a:extLst>
              <a:ext uri="{FF2B5EF4-FFF2-40B4-BE49-F238E27FC236}">
                <a16:creationId xmlns:a16="http://schemas.microsoft.com/office/drawing/2014/main" id="{8E92719B-D74F-4EFB-B1CF-BC7D5E56A6E5}"/>
              </a:ext>
            </a:extLst>
          </p:cNvPr>
          <p:cNvSpPr>
            <a:spLocks noGrp="1"/>
          </p:cNvSpPr>
          <p:nvPr>
            <p:ph type="body" sz="quarter" idx="3"/>
          </p:nvPr>
        </p:nvSpPr>
        <p:spPr>
          <a:xfrm>
            <a:off x="6096000" y="1376363"/>
            <a:ext cx="5328591" cy="593114"/>
          </a:xfrm>
        </p:spPr>
        <p:txBody>
          <a:bodyPr anchor="t">
            <a:normAutofit/>
          </a:bodyPr>
          <a:lstStyle>
            <a:lvl1pPr marL="0" indent="0">
              <a:buNone/>
              <a:defRPr sz="20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a:extLst>
              <a:ext uri="{FF2B5EF4-FFF2-40B4-BE49-F238E27FC236}">
                <a16:creationId xmlns:a16="http://schemas.microsoft.com/office/drawing/2014/main" id="{D166FF3E-7F4C-4D4F-A732-9308533AA8FA}"/>
              </a:ext>
            </a:extLst>
          </p:cNvPr>
          <p:cNvSpPr>
            <a:spLocks noGrp="1"/>
          </p:cNvSpPr>
          <p:nvPr>
            <p:ph sz="quarter" idx="4"/>
          </p:nvPr>
        </p:nvSpPr>
        <p:spPr>
          <a:xfrm>
            <a:off x="6095999" y="1969477"/>
            <a:ext cx="5328593" cy="41963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Slide Number Placeholder 8">
            <a:extLst>
              <a:ext uri="{FF2B5EF4-FFF2-40B4-BE49-F238E27FC236}">
                <a16:creationId xmlns:a16="http://schemas.microsoft.com/office/drawing/2014/main" id="{44373070-CA0D-4902-A9F1-2380E4992865}"/>
              </a:ext>
            </a:extLst>
          </p:cNvPr>
          <p:cNvSpPr>
            <a:spLocks noGrp="1"/>
          </p:cNvSpPr>
          <p:nvPr>
            <p:ph type="sldNum" sz="quarter" idx="12"/>
          </p:nvPr>
        </p:nvSpPr>
        <p:spPr>
          <a:xfrm>
            <a:off x="11278800" y="6400800"/>
            <a:ext cx="442800" cy="226800"/>
          </a:xfrm>
        </p:spPr>
        <p:txBody>
          <a:bodyPr vert="horz" lIns="0" tIns="0" rIns="0" bIns="0" rtlCol="0" anchor="t" anchorCtr="0">
            <a:noAutofit/>
          </a:bodyPr>
          <a:lstStyle>
            <a:lvl1pPr>
              <a:defRPr lang="en-GB" smtClean="0"/>
            </a:lvl1pPr>
          </a:lstStyle>
          <a:p>
            <a:pPr algn="r">
              <a:lnSpc>
                <a:spcPts val="970"/>
              </a:lnSpc>
            </a:pPr>
            <a:fld id="{24A935F8-6F02-46CF-898B-F9D6B7DB9D8E}" type="slidenum">
              <a:rPr lang="en-GB" smtClean="0"/>
              <a:pPr algn="r">
                <a:lnSpc>
                  <a:spcPts val="970"/>
                </a:lnSpc>
              </a:pPr>
              <a:t>‹#›</a:t>
            </a:fld>
            <a:endParaRPr lang="en-GB"/>
          </a:p>
        </p:txBody>
      </p:sp>
      <p:sp>
        <p:nvSpPr>
          <p:cNvPr id="10" name="Title 9">
            <a:extLst>
              <a:ext uri="{FF2B5EF4-FFF2-40B4-BE49-F238E27FC236}">
                <a16:creationId xmlns:a16="http://schemas.microsoft.com/office/drawing/2014/main" id="{1CF7AB2A-3DBF-4D3F-A954-196C7ED02768}"/>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87773082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8" name="Freeform 67">
            <a:extLst>
              <a:ext uri="{FF2B5EF4-FFF2-40B4-BE49-F238E27FC236}">
                <a16:creationId xmlns:a16="http://schemas.microsoft.com/office/drawing/2014/main" id="{F6E627BD-49CF-47F3-90F5-8DE5C3B0C487}"/>
              </a:ext>
            </a:extLst>
          </p:cNvPr>
          <p:cNvSpPr>
            <a:spLocks noChangeArrowheads="1"/>
          </p:cNvSpPr>
          <p:nvPr/>
        </p:nvSpPr>
        <p:spPr bwMode="auto">
          <a:xfrm>
            <a:off x="0" y="2991549"/>
            <a:ext cx="921920" cy="1825043"/>
          </a:xfrm>
          <a:custGeom>
            <a:avLst/>
            <a:gdLst>
              <a:gd name="T0" fmla="*/ 155 w 215"/>
              <a:gd name="T1" fmla="*/ 105 h 427"/>
              <a:gd name="T2" fmla="*/ 0 w 215"/>
              <a:gd name="T3" fmla="*/ 0 h 427"/>
              <a:gd name="T4" fmla="*/ 0 w 215"/>
              <a:gd name="T5" fmla="*/ 66 h 427"/>
              <a:gd name="T6" fmla="*/ 98 w 215"/>
              <a:gd name="T7" fmla="*/ 137 h 427"/>
              <a:gd name="T8" fmla="*/ 43 w 215"/>
              <a:gd name="T9" fmla="*/ 343 h 427"/>
              <a:gd name="T10" fmla="*/ 0 w 215"/>
              <a:gd name="T11" fmla="*/ 359 h 427"/>
              <a:gd name="T12" fmla="*/ 0 w 215"/>
              <a:gd name="T13" fmla="*/ 426 h 427"/>
              <a:gd name="T14" fmla="*/ 76 w 215"/>
              <a:gd name="T15" fmla="*/ 400 h 427"/>
              <a:gd name="T16" fmla="*/ 155 w 215"/>
              <a:gd name="T17" fmla="*/ 105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5" h="427">
                <a:moveTo>
                  <a:pt x="155" y="105"/>
                </a:moveTo>
                <a:cubicBezTo>
                  <a:pt x="121" y="47"/>
                  <a:pt x="63" y="10"/>
                  <a:pt x="0" y="0"/>
                </a:cubicBezTo>
                <a:lnTo>
                  <a:pt x="0" y="66"/>
                </a:lnTo>
                <a:cubicBezTo>
                  <a:pt x="41" y="75"/>
                  <a:pt x="77" y="100"/>
                  <a:pt x="98" y="137"/>
                </a:cubicBezTo>
                <a:cubicBezTo>
                  <a:pt x="140" y="209"/>
                  <a:pt x="115" y="301"/>
                  <a:pt x="43" y="343"/>
                </a:cubicBezTo>
                <a:cubicBezTo>
                  <a:pt x="30" y="351"/>
                  <a:pt x="15" y="356"/>
                  <a:pt x="0" y="359"/>
                </a:cubicBezTo>
                <a:lnTo>
                  <a:pt x="0" y="426"/>
                </a:lnTo>
                <a:cubicBezTo>
                  <a:pt x="26" y="422"/>
                  <a:pt x="52" y="413"/>
                  <a:pt x="76" y="400"/>
                </a:cubicBezTo>
                <a:cubicBezTo>
                  <a:pt x="179" y="340"/>
                  <a:pt x="214" y="208"/>
                  <a:pt x="155" y="105"/>
                </a:cubicBezTo>
              </a:path>
            </a:pathLst>
          </a:custGeom>
          <a:solidFill>
            <a:schemeClr val="accent6">
              <a:alpha val="4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9" name="Freeform 68">
            <a:extLst>
              <a:ext uri="{FF2B5EF4-FFF2-40B4-BE49-F238E27FC236}">
                <a16:creationId xmlns:a16="http://schemas.microsoft.com/office/drawing/2014/main" id="{73125E73-2849-4610-906B-E198401E9F42}"/>
              </a:ext>
            </a:extLst>
          </p:cNvPr>
          <p:cNvSpPr>
            <a:spLocks noChangeArrowheads="1"/>
          </p:cNvSpPr>
          <p:nvPr/>
        </p:nvSpPr>
        <p:spPr bwMode="auto">
          <a:xfrm>
            <a:off x="8851840" y="4675650"/>
            <a:ext cx="1937932" cy="2013191"/>
          </a:xfrm>
          <a:custGeom>
            <a:avLst/>
            <a:gdLst>
              <a:gd name="T0" fmla="*/ 324 w 456"/>
              <a:gd name="T1" fmla="*/ 178 h 470"/>
              <a:gd name="T2" fmla="*/ 303 w 456"/>
              <a:gd name="T3" fmla="*/ 14 h 470"/>
              <a:gd name="T4" fmla="*/ 139 w 456"/>
              <a:gd name="T5" fmla="*/ 36 h 470"/>
              <a:gd name="T6" fmla="*/ 60 w 456"/>
              <a:gd name="T7" fmla="*/ 331 h 470"/>
              <a:gd name="T8" fmla="*/ 355 w 456"/>
              <a:gd name="T9" fmla="*/ 410 h 470"/>
              <a:gd name="T10" fmla="*/ 455 w 456"/>
              <a:gd name="T11" fmla="*/ 279 h 470"/>
              <a:gd name="T12" fmla="*/ 324 w 456"/>
              <a:gd name="T13" fmla="*/ 178 h 470"/>
            </a:gdLst>
            <a:ahLst/>
            <a:cxnLst>
              <a:cxn ang="0">
                <a:pos x="T0" y="T1"/>
              </a:cxn>
              <a:cxn ang="0">
                <a:pos x="T2" y="T3"/>
              </a:cxn>
              <a:cxn ang="0">
                <a:pos x="T4" y="T5"/>
              </a:cxn>
              <a:cxn ang="0">
                <a:pos x="T6" y="T7"/>
              </a:cxn>
              <a:cxn ang="0">
                <a:pos x="T8" y="T9"/>
              </a:cxn>
              <a:cxn ang="0">
                <a:pos x="T10" y="T11"/>
              </a:cxn>
              <a:cxn ang="0">
                <a:pos x="T12" y="T13"/>
              </a:cxn>
            </a:cxnLst>
            <a:rect l="0" t="0" r="r" b="b"/>
            <a:pathLst>
              <a:path w="456" h="470">
                <a:moveTo>
                  <a:pt x="324" y="178"/>
                </a:moveTo>
                <a:cubicBezTo>
                  <a:pt x="294" y="126"/>
                  <a:pt x="288" y="67"/>
                  <a:pt x="303" y="14"/>
                </a:cubicBezTo>
                <a:cubicBezTo>
                  <a:pt x="249" y="0"/>
                  <a:pt x="190" y="6"/>
                  <a:pt x="139" y="36"/>
                </a:cubicBezTo>
                <a:cubicBezTo>
                  <a:pt x="36" y="95"/>
                  <a:pt x="0" y="227"/>
                  <a:pt x="60" y="331"/>
                </a:cubicBezTo>
                <a:cubicBezTo>
                  <a:pt x="119" y="434"/>
                  <a:pt x="252" y="469"/>
                  <a:pt x="355" y="410"/>
                </a:cubicBezTo>
                <a:cubicBezTo>
                  <a:pt x="406" y="380"/>
                  <a:pt x="441" y="332"/>
                  <a:pt x="455" y="279"/>
                </a:cubicBezTo>
                <a:cubicBezTo>
                  <a:pt x="402" y="264"/>
                  <a:pt x="354" y="230"/>
                  <a:pt x="324" y="178"/>
                </a:cubicBezTo>
              </a:path>
            </a:pathLst>
          </a:custGeom>
          <a:solidFill>
            <a:schemeClr val="accent5">
              <a:alpha val="4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0" name="Freeform 69">
            <a:extLst>
              <a:ext uri="{FF2B5EF4-FFF2-40B4-BE49-F238E27FC236}">
                <a16:creationId xmlns:a16="http://schemas.microsoft.com/office/drawing/2014/main" id="{085EC0CD-5537-4033-95BA-5B7BE295665E}"/>
              </a:ext>
            </a:extLst>
          </p:cNvPr>
          <p:cNvSpPr>
            <a:spLocks noChangeArrowheads="1"/>
          </p:cNvSpPr>
          <p:nvPr/>
        </p:nvSpPr>
        <p:spPr bwMode="auto">
          <a:xfrm>
            <a:off x="10169576" y="1947508"/>
            <a:ext cx="451556" cy="733772"/>
          </a:xfrm>
          <a:custGeom>
            <a:avLst/>
            <a:gdLst>
              <a:gd name="T0" fmla="*/ 7 w 107"/>
              <a:gd name="T1" fmla="*/ 0 h 173"/>
              <a:gd name="T2" fmla="*/ 24 w 107"/>
              <a:gd name="T3" fmla="*/ 105 h 173"/>
              <a:gd name="T4" fmla="*/ 106 w 107"/>
              <a:gd name="T5" fmla="*/ 172 h 173"/>
              <a:gd name="T6" fmla="*/ 77 w 107"/>
              <a:gd name="T7" fmla="*/ 74 h 173"/>
              <a:gd name="T8" fmla="*/ 7 w 107"/>
              <a:gd name="T9" fmla="*/ 0 h 173"/>
            </a:gdLst>
            <a:ahLst/>
            <a:cxnLst>
              <a:cxn ang="0">
                <a:pos x="T0" y="T1"/>
              </a:cxn>
              <a:cxn ang="0">
                <a:pos x="T2" y="T3"/>
              </a:cxn>
              <a:cxn ang="0">
                <a:pos x="T4" y="T5"/>
              </a:cxn>
              <a:cxn ang="0">
                <a:pos x="T6" y="T7"/>
              </a:cxn>
              <a:cxn ang="0">
                <a:pos x="T8" y="T9"/>
              </a:cxn>
            </a:cxnLst>
            <a:rect l="0" t="0" r="r" b="b"/>
            <a:pathLst>
              <a:path w="107" h="173">
                <a:moveTo>
                  <a:pt x="7" y="0"/>
                </a:moveTo>
                <a:cubicBezTo>
                  <a:pt x="0" y="36"/>
                  <a:pt x="6" y="73"/>
                  <a:pt x="24" y="105"/>
                </a:cubicBezTo>
                <a:cubicBezTo>
                  <a:pt x="42" y="136"/>
                  <a:pt x="72" y="160"/>
                  <a:pt x="106" y="172"/>
                </a:cubicBezTo>
                <a:cubicBezTo>
                  <a:pt x="104" y="138"/>
                  <a:pt x="95" y="105"/>
                  <a:pt x="77" y="74"/>
                </a:cubicBezTo>
                <a:cubicBezTo>
                  <a:pt x="59" y="43"/>
                  <a:pt x="35" y="18"/>
                  <a:pt x="7" y="0"/>
                </a:cubicBezTo>
              </a:path>
            </a:pathLst>
          </a:custGeom>
          <a:solidFill>
            <a:schemeClr val="accent1">
              <a:alpha val="4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1" name="Freeform 70">
            <a:extLst>
              <a:ext uri="{FF2B5EF4-FFF2-40B4-BE49-F238E27FC236}">
                <a16:creationId xmlns:a16="http://schemas.microsoft.com/office/drawing/2014/main" id="{1F65C563-1A5F-4974-AE3F-43C15F4DF605}"/>
              </a:ext>
            </a:extLst>
          </p:cNvPr>
          <p:cNvSpPr>
            <a:spLocks noChangeArrowheads="1"/>
          </p:cNvSpPr>
          <p:nvPr/>
        </p:nvSpPr>
        <p:spPr bwMode="auto">
          <a:xfrm>
            <a:off x="8670862" y="1752545"/>
            <a:ext cx="1937920" cy="2013179"/>
          </a:xfrm>
          <a:custGeom>
            <a:avLst/>
            <a:gdLst>
              <a:gd name="T0" fmla="*/ 355 w 456"/>
              <a:gd name="T1" fmla="*/ 409 h 470"/>
              <a:gd name="T2" fmla="*/ 455 w 456"/>
              <a:gd name="T3" fmla="*/ 279 h 470"/>
              <a:gd name="T4" fmla="*/ 324 w 456"/>
              <a:gd name="T5" fmla="*/ 178 h 470"/>
              <a:gd name="T6" fmla="*/ 303 w 456"/>
              <a:gd name="T7" fmla="*/ 14 h 470"/>
              <a:gd name="T8" fmla="*/ 139 w 456"/>
              <a:gd name="T9" fmla="*/ 36 h 470"/>
              <a:gd name="T10" fmla="*/ 60 w 456"/>
              <a:gd name="T11" fmla="*/ 331 h 470"/>
              <a:gd name="T12" fmla="*/ 355 w 456"/>
              <a:gd name="T13" fmla="*/ 409 h 470"/>
            </a:gdLst>
            <a:ahLst/>
            <a:cxnLst>
              <a:cxn ang="0">
                <a:pos x="T0" y="T1"/>
              </a:cxn>
              <a:cxn ang="0">
                <a:pos x="T2" y="T3"/>
              </a:cxn>
              <a:cxn ang="0">
                <a:pos x="T4" y="T5"/>
              </a:cxn>
              <a:cxn ang="0">
                <a:pos x="T6" y="T7"/>
              </a:cxn>
              <a:cxn ang="0">
                <a:pos x="T8" y="T9"/>
              </a:cxn>
              <a:cxn ang="0">
                <a:pos x="T10" y="T11"/>
              </a:cxn>
              <a:cxn ang="0">
                <a:pos x="T12" y="T13"/>
              </a:cxn>
            </a:cxnLst>
            <a:rect l="0" t="0" r="r" b="b"/>
            <a:pathLst>
              <a:path w="456" h="470">
                <a:moveTo>
                  <a:pt x="355" y="409"/>
                </a:moveTo>
                <a:cubicBezTo>
                  <a:pt x="407" y="379"/>
                  <a:pt x="441" y="332"/>
                  <a:pt x="455" y="279"/>
                </a:cubicBezTo>
                <a:cubicBezTo>
                  <a:pt x="402" y="265"/>
                  <a:pt x="353" y="229"/>
                  <a:pt x="324" y="178"/>
                </a:cubicBezTo>
                <a:cubicBezTo>
                  <a:pt x="294" y="126"/>
                  <a:pt x="288" y="68"/>
                  <a:pt x="303" y="14"/>
                </a:cubicBezTo>
                <a:cubicBezTo>
                  <a:pt x="249" y="0"/>
                  <a:pt x="191" y="6"/>
                  <a:pt x="139" y="36"/>
                </a:cubicBezTo>
                <a:cubicBezTo>
                  <a:pt x="36" y="96"/>
                  <a:pt x="0" y="228"/>
                  <a:pt x="60" y="331"/>
                </a:cubicBezTo>
                <a:cubicBezTo>
                  <a:pt x="120" y="433"/>
                  <a:pt x="252" y="469"/>
                  <a:pt x="355" y="409"/>
                </a:cubicBezTo>
              </a:path>
            </a:pathLst>
          </a:custGeom>
          <a:solidFill>
            <a:schemeClr val="accent1">
              <a:alpha val="4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a:p>
        </p:txBody>
      </p:sp>
      <p:sp>
        <p:nvSpPr>
          <p:cNvPr id="12" name="Freeform 71">
            <a:extLst>
              <a:ext uri="{FF2B5EF4-FFF2-40B4-BE49-F238E27FC236}">
                <a16:creationId xmlns:a16="http://schemas.microsoft.com/office/drawing/2014/main" id="{E52E6DC7-3D71-4068-8E4B-4198314DFAEA}"/>
              </a:ext>
            </a:extLst>
          </p:cNvPr>
          <p:cNvSpPr>
            <a:spLocks noChangeArrowheads="1"/>
          </p:cNvSpPr>
          <p:nvPr/>
        </p:nvSpPr>
        <p:spPr bwMode="auto">
          <a:xfrm>
            <a:off x="9938039" y="1147698"/>
            <a:ext cx="1937932" cy="1843852"/>
          </a:xfrm>
          <a:custGeom>
            <a:avLst/>
            <a:gdLst>
              <a:gd name="T0" fmla="*/ 63 w 456"/>
              <a:gd name="T1" fmla="*/ 177 h 433"/>
              <a:gd name="T2" fmla="*/ 133 w 456"/>
              <a:gd name="T3" fmla="*/ 86 h 433"/>
              <a:gd name="T4" fmla="*/ 208 w 456"/>
              <a:gd name="T5" fmla="*/ 66 h 433"/>
              <a:gd name="T6" fmla="*/ 208 w 456"/>
              <a:gd name="T7" fmla="*/ 66 h 433"/>
              <a:gd name="T8" fmla="*/ 339 w 456"/>
              <a:gd name="T9" fmla="*/ 141 h 433"/>
              <a:gd name="T10" fmla="*/ 284 w 456"/>
              <a:gd name="T11" fmla="*/ 347 h 433"/>
              <a:gd name="T12" fmla="*/ 209 w 456"/>
              <a:gd name="T13" fmla="*/ 367 h 433"/>
              <a:gd name="T14" fmla="*/ 160 w 456"/>
              <a:gd name="T15" fmla="*/ 359 h 433"/>
              <a:gd name="T16" fmla="*/ 152 w 456"/>
              <a:gd name="T17" fmla="*/ 425 h 433"/>
              <a:gd name="T18" fmla="*/ 209 w 456"/>
              <a:gd name="T19" fmla="*/ 432 h 433"/>
              <a:gd name="T20" fmla="*/ 316 w 456"/>
              <a:gd name="T21" fmla="*/ 403 h 433"/>
              <a:gd name="T22" fmla="*/ 395 w 456"/>
              <a:gd name="T23" fmla="*/ 108 h 433"/>
              <a:gd name="T24" fmla="*/ 208 w 456"/>
              <a:gd name="T25" fmla="*/ 0 h 433"/>
              <a:gd name="T26" fmla="*/ 100 w 456"/>
              <a:gd name="T27" fmla="*/ 29 h 433"/>
              <a:gd name="T28" fmla="*/ 0 w 456"/>
              <a:gd name="T29" fmla="*/ 160 h 433"/>
              <a:gd name="T30" fmla="*/ 61 w 456"/>
              <a:gd name="T31" fmla="*/ 187 h 433"/>
              <a:gd name="T32" fmla="*/ 63 w 456"/>
              <a:gd name="T33" fmla="*/ 177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6" h="433">
                <a:moveTo>
                  <a:pt x="63" y="177"/>
                </a:moveTo>
                <a:cubicBezTo>
                  <a:pt x="73" y="139"/>
                  <a:pt x="98" y="106"/>
                  <a:pt x="133" y="86"/>
                </a:cubicBezTo>
                <a:cubicBezTo>
                  <a:pt x="156" y="73"/>
                  <a:pt x="182" y="66"/>
                  <a:pt x="208" y="66"/>
                </a:cubicBezTo>
                <a:lnTo>
                  <a:pt x="208" y="66"/>
                </a:lnTo>
                <a:cubicBezTo>
                  <a:pt x="262" y="66"/>
                  <a:pt x="312" y="95"/>
                  <a:pt x="339" y="141"/>
                </a:cubicBezTo>
                <a:cubicBezTo>
                  <a:pt x="380" y="213"/>
                  <a:pt x="356" y="305"/>
                  <a:pt x="284" y="347"/>
                </a:cubicBezTo>
                <a:cubicBezTo>
                  <a:pt x="261" y="360"/>
                  <a:pt x="235" y="367"/>
                  <a:pt x="209" y="367"/>
                </a:cubicBezTo>
                <a:cubicBezTo>
                  <a:pt x="192" y="367"/>
                  <a:pt x="175" y="364"/>
                  <a:pt x="160" y="359"/>
                </a:cubicBezTo>
                <a:cubicBezTo>
                  <a:pt x="161" y="381"/>
                  <a:pt x="158" y="403"/>
                  <a:pt x="152" y="425"/>
                </a:cubicBezTo>
                <a:cubicBezTo>
                  <a:pt x="171" y="430"/>
                  <a:pt x="190" y="432"/>
                  <a:pt x="209" y="432"/>
                </a:cubicBezTo>
                <a:cubicBezTo>
                  <a:pt x="245" y="432"/>
                  <a:pt x="282" y="423"/>
                  <a:pt x="316" y="403"/>
                </a:cubicBezTo>
                <a:cubicBezTo>
                  <a:pt x="420" y="344"/>
                  <a:pt x="455" y="212"/>
                  <a:pt x="395" y="108"/>
                </a:cubicBezTo>
                <a:cubicBezTo>
                  <a:pt x="355" y="39"/>
                  <a:pt x="283" y="0"/>
                  <a:pt x="208" y="0"/>
                </a:cubicBezTo>
                <a:cubicBezTo>
                  <a:pt x="172" y="0"/>
                  <a:pt x="134" y="10"/>
                  <a:pt x="100" y="29"/>
                </a:cubicBezTo>
                <a:cubicBezTo>
                  <a:pt x="49" y="59"/>
                  <a:pt x="14" y="107"/>
                  <a:pt x="0" y="160"/>
                </a:cubicBezTo>
                <a:cubicBezTo>
                  <a:pt x="21" y="166"/>
                  <a:pt x="42" y="175"/>
                  <a:pt x="61" y="187"/>
                </a:cubicBezTo>
                <a:cubicBezTo>
                  <a:pt x="61" y="184"/>
                  <a:pt x="62" y="181"/>
                  <a:pt x="63" y="177"/>
                </a:cubicBezTo>
              </a:path>
            </a:pathLst>
          </a:custGeom>
          <a:solidFill>
            <a:schemeClr val="accent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3" name="Freeform 72">
            <a:extLst>
              <a:ext uri="{FF2B5EF4-FFF2-40B4-BE49-F238E27FC236}">
                <a16:creationId xmlns:a16="http://schemas.microsoft.com/office/drawing/2014/main" id="{B6315EE1-5FAA-4D29-AA3E-9E77D9BD668B}"/>
              </a:ext>
            </a:extLst>
          </p:cNvPr>
          <p:cNvSpPr>
            <a:spLocks noChangeArrowheads="1"/>
          </p:cNvSpPr>
          <p:nvPr/>
        </p:nvSpPr>
        <p:spPr bwMode="auto">
          <a:xfrm>
            <a:off x="9877772" y="1825031"/>
            <a:ext cx="752593" cy="1128889"/>
          </a:xfrm>
          <a:custGeom>
            <a:avLst/>
            <a:gdLst>
              <a:gd name="T0" fmla="*/ 36 w 177"/>
              <a:gd name="T1" fmla="*/ 164 h 266"/>
              <a:gd name="T2" fmla="*/ 167 w 177"/>
              <a:gd name="T3" fmla="*/ 265 h 266"/>
              <a:gd name="T4" fmla="*/ 175 w 177"/>
              <a:gd name="T5" fmla="*/ 199 h 266"/>
              <a:gd name="T6" fmla="*/ 93 w 177"/>
              <a:gd name="T7" fmla="*/ 132 h 266"/>
              <a:gd name="T8" fmla="*/ 76 w 177"/>
              <a:gd name="T9" fmla="*/ 27 h 266"/>
              <a:gd name="T10" fmla="*/ 15 w 177"/>
              <a:gd name="T11" fmla="*/ 0 h 266"/>
              <a:gd name="T12" fmla="*/ 36 w 177"/>
              <a:gd name="T13" fmla="*/ 164 h 266"/>
            </a:gdLst>
            <a:ahLst/>
            <a:cxnLst>
              <a:cxn ang="0">
                <a:pos x="T0" y="T1"/>
              </a:cxn>
              <a:cxn ang="0">
                <a:pos x="T2" y="T3"/>
              </a:cxn>
              <a:cxn ang="0">
                <a:pos x="T4" y="T5"/>
              </a:cxn>
              <a:cxn ang="0">
                <a:pos x="T6" y="T7"/>
              </a:cxn>
              <a:cxn ang="0">
                <a:pos x="T8" y="T9"/>
              </a:cxn>
              <a:cxn ang="0">
                <a:pos x="T10" y="T11"/>
              </a:cxn>
              <a:cxn ang="0">
                <a:pos x="T12" y="T13"/>
              </a:cxn>
            </a:cxnLst>
            <a:rect l="0" t="0" r="r" b="b"/>
            <a:pathLst>
              <a:path w="177" h="266">
                <a:moveTo>
                  <a:pt x="36" y="164"/>
                </a:moveTo>
                <a:cubicBezTo>
                  <a:pt x="66" y="216"/>
                  <a:pt x="114" y="251"/>
                  <a:pt x="167" y="265"/>
                </a:cubicBezTo>
                <a:cubicBezTo>
                  <a:pt x="173" y="243"/>
                  <a:pt x="176" y="221"/>
                  <a:pt x="175" y="199"/>
                </a:cubicBezTo>
                <a:cubicBezTo>
                  <a:pt x="141" y="187"/>
                  <a:pt x="111" y="163"/>
                  <a:pt x="93" y="132"/>
                </a:cubicBezTo>
                <a:cubicBezTo>
                  <a:pt x="75" y="100"/>
                  <a:pt x="69" y="63"/>
                  <a:pt x="76" y="27"/>
                </a:cubicBezTo>
                <a:cubicBezTo>
                  <a:pt x="57" y="15"/>
                  <a:pt x="36" y="6"/>
                  <a:pt x="15" y="0"/>
                </a:cubicBezTo>
                <a:cubicBezTo>
                  <a:pt x="0" y="54"/>
                  <a:pt x="7" y="113"/>
                  <a:pt x="36" y="164"/>
                </a:cubicBezTo>
              </a:path>
            </a:pathLst>
          </a:custGeom>
          <a:solidFill>
            <a:srgbClr val="0099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a:p>
        </p:txBody>
      </p:sp>
      <p:sp>
        <p:nvSpPr>
          <p:cNvPr id="14" name="Freeform 73">
            <a:extLst>
              <a:ext uri="{FF2B5EF4-FFF2-40B4-BE49-F238E27FC236}">
                <a16:creationId xmlns:a16="http://schemas.microsoft.com/office/drawing/2014/main" id="{1EC5BEE1-0724-4108-9E09-B51210C489C0}"/>
              </a:ext>
            </a:extLst>
          </p:cNvPr>
          <p:cNvSpPr>
            <a:spLocks noChangeArrowheads="1"/>
          </p:cNvSpPr>
          <p:nvPr/>
        </p:nvSpPr>
        <p:spPr bwMode="auto">
          <a:xfrm>
            <a:off x="9877772" y="1825031"/>
            <a:ext cx="752593" cy="1128889"/>
          </a:xfrm>
          <a:custGeom>
            <a:avLst/>
            <a:gdLst>
              <a:gd name="T0" fmla="*/ 36 w 177"/>
              <a:gd name="T1" fmla="*/ 164 h 266"/>
              <a:gd name="T2" fmla="*/ 167 w 177"/>
              <a:gd name="T3" fmla="*/ 265 h 266"/>
              <a:gd name="T4" fmla="*/ 175 w 177"/>
              <a:gd name="T5" fmla="*/ 199 h 266"/>
              <a:gd name="T6" fmla="*/ 93 w 177"/>
              <a:gd name="T7" fmla="*/ 132 h 266"/>
              <a:gd name="T8" fmla="*/ 76 w 177"/>
              <a:gd name="T9" fmla="*/ 27 h 266"/>
              <a:gd name="T10" fmla="*/ 15 w 177"/>
              <a:gd name="T11" fmla="*/ 0 h 266"/>
              <a:gd name="T12" fmla="*/ 36 w 177"/>
              <a:gd name="T13" fmla="*/ 164 h 266"/>
            </a:gdLst>
            <a:ahLst/>
            <a:cxnLst>
              <a:cxn ang="0">
                <a:pos x="T0" y="T1"/>
              </a:cxn>
              <a:cxn ang="0">
                <a:pos x="T2" y="T3"/>
              </a:cxn>
              <a:cxn ang="0">
                <a:pos x="T4" y="T5"/>
              </a:cxn>
              <a:cxn ang="0">
                <a:pos x="T6" y="T7"/>
              </a:cxn>
              <a:cxn ang="0">
                <a:pos x="T8" y="T9"/>
              </a:cxn>
              <a:cxn ang="0">
                <a:pos x="T10" y="T11"/>
              </a:cxn>
              <a:cxn ang="0">
                <a:pos x="T12" y="T13"/>
              </a:cxn>
            </a:cxnLst>
            <a:rect l="0" t="0" r="r" b="b"/>
            <a:pathLst>
              <a:path w="177" h="266">
                <a:moveTo>
                  <a:pt x="36" y="164"/>
                </a:moveTo>
                <a:cubicBezTo>
                  <a:pt x="66" y="216"/>
                  <a:pt x="114" y="251"/>
                  <a:pt x="167" y="265"/>
                </a:cubicBezTo>
                <a:cubicBezTo>
                  <a:pt x="173" y="243"/>
                  <a:pt x="176" y="221"/>
                  <a:pt x="175" y="199"/>
                </a:cubicBezTo>
                <a:cubicBezTo>
                  <a:pt x="141" y="187"/>
                  <a:pt x="111" y="163"/>
                  <a:pt x="93" y="132"/>
                </a:cubicBezTo>
                <a:cubicBezTo>
                  <a:pt x="75" y="100"/>
                  <a:pt x="69" y="63"/>
                  <a:pt x="76" y="27"/>
                </a:cubicBezTo>
                <a:cubicBezTo>
                  <a:pt x="57" y="15"/>
                  <a:pt x="36" y="6"/>
                  <a:pt x="15" y="0"/>
                </a:cubicBezTo>
                <a:cubicBezTo>
                  <a:pt x="0" y="54"/>
                  <a:pt x="7" y="113"/>
                  <a:pt x="36" y="164"/>
                </a:cubicBezTo>
              </a:path>
            </a:pathLst>
          </a:custGeom>
          <a:solidFill>
            <a:schemeClr val="accent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a:p>
        </p:txBody>
      </p:sp>
      <p:sp>
        <p:nvSpPr>
          <p:cNvPr id="15" name="Freeform 74">
            <a:extLst>
              <a:ext uri="{FF2B5EF4-FFF2-40B4-BE49-F238E27FC236}">
                <a16:creationId xmlns:a16="http://schemas.microsoft.com/office/drawing/2014/main" id="{0FFA210F-24E4-4D21-9E52-062CE00C17E8}"/>
              </a:ext>
            </a:extLst>
          </p:cNvPr>
          <p:cNvSpPr>
            <a:spLocks noChangeArrowheads="1"/>
          </p:cNvSpPr>
          <p:nvPr/>
        </p:nvSpPr>
        <p:spPr bwMode="auto">
          <a:xfrm>
            <a:off x="714963" y="4280365"/>
            <a:ext cx="5531556" cy="2577635"/>
          </a:xfrm>
          <a:custGeom>
            <a:avLst/>
            <a:gdLst>
              <a:gd name="T0" fmla="*/ 1237 w 1298"/>
              <a:gd name="T1" fmla="*/ 139 h 605"/>
              <a:gd name="T2" fmla="*/ 942 w 1298"/>
              <a:gd name="T3" fmla="*/ 60 h 605"/>
              <a:gd name="T4" fmla="*/ 0 w 1298"/>
              <a:gd name="T5" fmla="*/ 604 h 605"/>
              <a:gd name="T6" fmla="*/ 864 w 1298"/>
              <a:gd name="T7" fmla="*/ 604 h 605"/>
              <a:gd name="T8" fmla="*/ 1158 w 1298"/>
              <a:gd name="T9" fmla="*/ 434 h 605"/>
              <a:gd name="T10" fmla="*/ 1237 w 1298"/>
              <a:gd name="T11" fmla="*/ 139 h 605"/>
            </a:gdLst>
            <a:ahLst/>
            <a:cxnLst>
              <a:cxn ang="0">
                <a:pos x="T0" y="T1"/>
              </a:cxn>
              <a:cxn ang="0">
                <a:pos x="T2" y="T3"/>
              </a:cxn>
              <a:cxn ang="0">
                <a:pos x="T4" y="T5"/>
              </a:cxn>
              <a:cxn ang="0">
                <a:pos x="T6" y="T7"/>
              </a:cxn>
              <a:cxn ang="0">
                <a:pos x="T8" y="T9"/>
              </a:cxn>
              <a:cxn ang="0">
                <a:pos x="T10" y="T11"/>
              </a:cxn>
            </a:cxnLst>
            <a:rect l="0" t="0" r="r" b="b"/>
            <a:pathLst>
              <a:path w="1298" h="605">
                <a:moveTo>
                  <a:pt x="1237" y="139"/>
                </a:moveTo>
                <a:cubicBezTo>
                  <a:pt x="1177" y="36"/>
                  <a:pt x="1045" y="0"/>
                  <a:pt x="942" y="60"/>
                </a:cubicBezTo>
                <a:lnTo>
                  <a:pt x="0" y="604"/>
                </a:lnTo>
                <a:lnTo>
                  <a:pt x="864" y="604"/>
                </a:lnTo>
                <a:lnTo>
                  <a:pt x="1158" y="434"/>
                </a:lnTo>
                <a:cubicBezTo>
                  <a:pt x="1261" y="374"/>
                  <a:pt x="1297" y="242"/>
                  <a:pt x="1237" y="139"/>
                </a:cubicBezTo>
              </a:path>
            </a:pathLst>
          </a:custGeom>
          <a:solidFill>
            <a:schemeClr val="accent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6" name="Freeform 75">
            <a:extLst>
              <a:ext uri="{FF2B5EF4-FFF2-40B4-BE49-F238E27FC236}">
                <a16:creationId xmlns:a16="http://schemas.microsoft.com/office/drawing/2014/main" id="{3E1A5540-8089-4989-A345-C0649F6FACA8}"/>
              </a:ext>
            </a:extLst>
          </p:cNvPr>
          <p:cNvSpPr>
            <a:spLocks noChangeArrowheads="1"/>
          </p:cNvSpPr>
          <p:nvPr/>
        </p:nvSpPr>
        <p:spPr bwMode="auto">
          <a:xfrm>
            <a:off x="10065920" y="3236148"/>
            <a:ext cx="2126080" cy="2690512"/>
          </a:xfrm>
          <a:custGeom>
            <a:avLst/>
            <a:gdLst>
              <a:gd name="T0" fmla="*/ 15 w 499"/>
              <a:gd name="T1" fmla="*/ 352 h 632"/>
              <a:gd name="T2" fmla="*/ 36 w 499"/>
              <a:gd name="T3" fmla="*/ 516 h 632"/>
              <a:gd name="T4" fmla="*/ 167 w 499"/>
              <a:gd name="T5" fmla="*/ 617 h 632"/>
              <a:gd name="T6" fmla="*/ 331 w 499"/>
              <a:gd name="T7" fmla="*/ 595 h 632"/>
              <a:gd name="T8" fmla="*/ 498 w 499"/>
              <a:gd name="T9" fmla="*/ 499 h 632"/>
              <a:gd name="T10" fmla="*/ 498 w 499"/>
              <a:gd name="T11" fmla="*/ 0 h 632"/>
              <a:gd name="T12" fmla="*/ 115 w 499"/>
              <a:gd name="T13" fmla="*/ 221 h 632"/>
              <a:gd name="T14" fmla="*/ 15 w 499"/>
              <a:gd name="T15" fmla="*/ 352 h 6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9" h="632">
                <a:moveTo>
                  <a:pt x="15" y="352"/>
                </a:moveTo>
                <a:cubicBezTo>
                  <a:pt x="0" y="405"/>
                  <a:pt x="6" y="464"/>
                  <a:pt x="36" y="516"/>
                </a:cubicBezTo>
                <a:cubicBezTo>
                  <a:pt x="66" y="568"/>
                  <a:pt x="114" y="602"/>
                  <a:pt x="167" y="617"/>
                </a:cubicBezTo>
                <a:cubicBezTo>
                  <a:pt x="221" y="631"/>
                  <a:pt x="280" y="625"/>
                  <a:pt x="331" y="595"/>
                </a:cubicBezTo>
                <a:lnTo>
                  <a:pt x="498" y="499"/>
                </a:lnTo>
                <a:lnTo>
                  <a:pt x="498" y="0"/>
                </a:lnTo>
                <a:lnTo>
                  <a:pt x="115" y="221"/>
                </a:lnTo>
                <a:cubicBezTo>
                  <a:pt x="64" y="251"/>
                  <a:pt x="29" y="299"/>
                  <a:pt x="15" y="352"/>
                </a:cubicBezTo>
              </a:path>
            </a:pathLst>
          </a:custGeom>
          <a:solidFill>
            <a:schemeClr val="accent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7" name="Freeform 76">
            <a:extLst>
              <a:ext uri="{FF2B5EF4-FFF2-40B4-BE49-F238E27FC236}">
                <a16:creationId xmlns:a16="http://schemas.microsoft.com/office/drawing/2014/main" id="{8C16E441-DE46-4AD1-AC51-EA11737B68C6}"/>
              </a:ext>
            </a:extLst>
          </p:cNvPr>
          <p:cNvSpPr>
            <a:spLocks noChangeArrowheads="1"/>
          </p:cNvSpPr>
          <p:nvPr/>
        </p:nvSpPr>
        <p:spPr bwMode="auto">
          <a:xfrm>
            <a:off x="4477926" y="0"/>
            <a:ext cx="3988741" cy="1712142"/>
          </a:xfrm>
          <a:custGeom>
            <a:avLst/>
            <a:gdLst>
              <a:gd name="T0" fmla="*/ 50 w 934"/>
              <a:gd name="T1" fmla="*/ 260 h 400"/>
              <a:gd name="T2" fmla="*/ 345 w 934"/>
              <a:gd name="T3" fmla="*/ 339 h 400"/>
              <a:gd name="T4" fmla="*/ 933 w 934"/>
              <a:gd name="T5" fmla="*/ 0 h 400"/>
              <a:gd name="T6" fmla="*/ 84 w 934"/>
              <a:gd name="T7" fmla="*/ 0 h 400"/>
              <a:gd name="T8" fmla="*/ 50 w 934"/>
              <a:gd name="T9" fmla="*/ 260 h 400"/>
            </a:gdLst>
            <a:ahLst/>
            <a:cxnLst>
              <a:cxn ang="0">
                <a:pos x="T0" y="T1"/>
              </a:cxn>
              <a:cxn ang="0">
                <a:pos x="T2" y="T3"/>
              </a:cxn>
              <a:cxn ang="0">
                <a:pos x="T4" y="T5"/>
              </a:cxn>
              <a:cxn ang="0">
                <a:pos x="T6" y="T7"/>
              </a:cxn>
              <a:cxn ang="0">
                <a:pos x="T8" y="T9"/>
              </a:cxn>
            </a:cxnLst>
            <a:rect l="0" t="0" r="r" b="b"/>
            <a:pathLst>
              <a:path w="934" h="400">
                <a:moveTo>
                  <a:pt x="50" y="260"/>
                </a:moveTo>
                <a:cubicBezTo>
                  <a:pt x="110" y="363"/>
                  <a:pt x="242" y="399"/>
                  <a:pt x="345" y="339"/>
                </a:cubicBezTo>
                <a:lnTo>
                  <a:pt x="933" y="0"/>
                </a:lnTo>
                <a:lnTo>
                  <a:pt x="84" y="0"/>
                </a:lnTo>
                <a:cubicBezTo>
                  <a:pt x="17" y="67"/>
                  <a:pt x="0" y="174"/>
                  <a:pt x="50" y="260"/>
                </a:cubicBezTo>
              </a:path>
            </a:pathLst>
          </a:custGeom>
          <a:solidFill>
            <a:schemeClr val="accent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2" name="Title 1">
            <a:extLst>
              <a:ext uri="{FF2B5EF4-FFF2-40B4-BE49-F238E27FC236}">
                <a16:creationId xmlns:a16="http://schemas.microsoft.com/office/drawing/2014/main" id="{EC9DBBEB-CFD6-4E01-A45F-4CB0419CF96A}"/>
              </a:ext>
            </a:extLst>
          </p:cNvPr>
          <p:cNvSpPr>
            <a:spLocks noGrp="1"/>
          </p:cNvSpPr>
          <p:nvPr userDrawn="1">
            <p:ph type="title"/>
          </p:nvPr>
        </p:nvSpPr>
        <p:spPr>
          <a:xfrm>
            <a:off x="1343025" y="2083034"/>
            <a:ext cx="7200900" cy="1612666"/>
          </a:xfrm>
        </p:spPr>
        <p:txBody>
          <a:bodyPr vert="horz" lIns="0" tIns="0" rIns="0" bIns="0" rtlCol="0" anchor="t" anchorCtr="0">
            <a:normAutofit/>
          </a:bodyPr>
          <a:lstStyle>
            <a:lvl1pPr marL="0" indent="0">
              <a:buFont typeface="Arial" panose="020B0604020202020204" pitchFamily="34" charset="0"/>
              <a:buNone/>
              <a:defRPr lang="en-GB" sz="5400" dirty="0"/>
            </a:lvl1pPr>
          </a:lstStyle>
          <a:p>
            <a:pPr lvl="0"/>
            <a:r>
              <a:rPr lang="en-US" dirty="0"/>
              <a:t>Click to edit Master title style</a:t>
            </a:r>
            <a:endParaRPr lang="en-GB" dirty="0"/>
          </a:p>
        </p:txBody>
      </p:sp>
      <p:sp>
        <p:nvSpPr>
          <p:cNvPr id="3" name="Text Placeholder 2">
            <a:extLst>
              <a:ext uri="{FF2B5EF4-FFF2-40B4-BE49-F238E27FC236}">
                <a16:creationId xmlns:a16="http://schemas.microsoft.com/office/drawing/2014/main" id="{278E103B-4121-4BCA-89E5-49B0F4DAAC9B}"/>
              </a:ext>
            </a:extLst>
          </p:cNvPr>
          <p:cNvSpPr>
            <a:spLocks noGrp="1"/>
          </p:cNvSpPr>
          <p:nvPr userDrawn="1">
            <p:ph type="body" idx="1"/>
          </p:nvPr>
        </p:nvSpPr>
        <p:spPr>
          <a:xfrm>
            <a:off x="1343025" y="3066707"/>
            <a:ext cx="7200900" cy="1154381"/>
          </a:xfrm>
        </p:spPr>
        <p:txBody>
          <a:bodyPr vert="horz" lIns="0" tIns="0" rIns="0" bIns="0" rtlCol="0" anchor="t" anchorCtr="0">
            <a:normAutofit/>
          </a:bodyPr>
          <a:lstStyle>
            <a:lvl1pPr marL="0" indent="0">
              <a:spcBef>
                <a:spcPts val="0"/>
              </a:spcBef>
              <a:buNone/>
              <a:defRPr lang="en-US" sz="2800" smtClean="0">
                <a:solidFill>
                  <a:schemeClr val="accent2"/>
                </a:solidFill>
              </a:defRPr>
            </a:lvl1pPr>
          </a:lstStyle>
          <a:p>
            <a:pPr marL="228600" lvl="0" indent="-228600">
              <a:spcAft>
                <a:spcPts val="0"/>
              </a:spcAft>
            </a:pPr>
            <a:r>
              <a:rPr lang="en-US" dirty="0"/>
              <a:t>Click to edit Master text styles</a:t>
            </a:r>
          </a:p>
        </p:txBody>
      </p:sp>
      <p:sp>
        <p:nvSpPr>
          <p:cNvPr id="31" name="Rechthoek 2">
            <a:extLst>
              <a:ext uri="{FF2B5EF4-FFF2-40B4-BE49-F238E27FC236}">
                <a16:creationId xmlns:a16="http://schemas.microsoft.com/office/drawing/2014/main" id="{78FBC14A-A919-8245-8843-F1308DD33634}"/>
              </a:ext>
            </a:extLst>
          </p:cNvPr>
          <p:cNvSpPr/>
          <p:nvPr userDrawn="1"/>
        </p:nvSpPr>
        <p:spPr>
          <a:xfrm>
            <a:off x="10002839" y="143250"/>
            <a:ext cx="1633781"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accent4"/>
                </a:solidFill>
                <a:effectLst/>
                <a:uLnTx/>
                <a:uFillTx/>
                <a:latin typeface="+mn-lt"/>
                <a:ea typeface="+mn-ea"/>
                <a:cs typeface="+mn-cs"/>
              </a:rPr>
              <a:t>Colt confidential</a:t>
            </a:r>
          </a:p>
        </p:txBody>
      </p:sp>
    </p:spTree>
    <p:extLst>
      <p:ext uri="{BB962C8B-B14F-4D97-AF65-F5344CB8AC3E}">
        <p14:creationId xmlns:p14="http://schemas.microsoft.com/office/powerpoint/2010/main" val="1628366566"/>
      </p:ext>
    </p:extLst>
  </p:cSld>
  <p:clrMapOvr>
    <a:masterClrMapping/>
  </p:clrMapOvr>
  <p:extLst>
    <p:ext uri="{DCECCB84-F9BA-43D5-87BE-67443E8EF086}">
      <p15:sldGuideLst xmlns:p15="http://schemas.microsoft.com/office/powerpoint/2012/main">
        <p15:guide id="1" pos="846">
          <p15:clr>
            <a:srgbClr val="FBAE40"/>
          </p15:clr>
        </p15:guide>
        <p15:guide id="2" pos="5382">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type="secHead" preserve="1">
  <p:cSld name="1_Section Header">
    <p:spTree>
      <p:nvGrpSpPr>
        <p:cNvPr id="1" name=""/>
        <p:cNvGrpSpPr/>
        <p:nvPr/>
      </p:nvGrpSpPr>
      <p:grpSpPr>
        <a:xfrm>
          <a:off x="0" y="0"/>
          <a:ext cx="0" cy="0"/>
          <a:chOff x="0" y="0"/>
          <a:chExt cx="0" cy="0"/>
        </a:xfrm>
      </p:grpSpPr>
      <p:sp>
        <p:nvSpPr>
          <p:cNvPr id="8" name="Freeform 67">
            <a:extLst>
              <a:ext uri="{FF2B5EF4-FFF2-40B4-BE49-F238E27FC236}">
                <a16:creationId xmlns:a16="http://schemas.microsoft.com/office/drawing/2014/main" id="{F6E627BD-49CF-47F3-90F5-8DE5C3B0C487}"/>
              </a:ext>
            </a:extLst>
          </p:cNvPr>
          <p:cNvSpPr>
            <a:spLocks noChangeArrowheads="1"/>
          </p:cNvSpPr>
          <p:nvPr/>
        </p:nvSpPr>
        <p:spPr bwMode="auto">
          <a:xfrm>
            <a:off x="0" y="2991549"/>
            <a:ext cx="921920" cy="1825043"/>
          </a:xfrm>
          <a:custGeom>
            <a:avLst/>
            <a:gdLst>
              <a:gd name="T0" fmla="*/ 155 w 215"/>
              <a:gd name="T1" fmla="*/ 105 h 427"/>
              <a:gd name="T2" fmla="*/ 0 w 215"/>
              <a:gd name="T3" fmla="*/ 0 h 427"/>
              <a:gd name="T4" fmla="*/ 0 w 215"/>
              <a:gd name="T5" fmla="*/ 66 h 427"/>
              <a:gd name="T6" fmla="*/ 98 w 215"/>
              <a:gd name="T7" fmla="*/ 137 h 427"/>
              <a:gd name="T8" fmla="*/ 43 w 215"/>
              <a:gd name="T9" fmla="*/ 343 h 427"/>
              <a:gd name="T10" fmla="*/ 0 w 215"/>
              <a:gd name="T11" fmla="*/ 359 h 427"/>
              <a:gd name="T12" fmla="*/ 0 w 215"/>
              <a:gd name="T13" fmla="*/ 426 h 427"/>
              <a:gd name="T14" fmla="*/ 76 w 215"/>
              <a:gd name="T15" fmla="*/ 400 h 427"/>
              <a:gd name="T16" fmla="*/ 155 w 215"/>
              <a:gd name="T17" fmla="*/ 105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5" h="427">
                <a:moveTo>
                  <a:pt x="155" y="105"/>
                </a:moveTo>
                <a:cubicBezTo>
                  <a:pt x="121" y="47"/>
                  <a:pt x="63" y="10"/>
                  <a:pt x="0" y="0"/>
                </a:cubicBezTo>
                <a:lnTo>
                  <a:pt x="0" y="66"/>
                </a:lnTo>
                <a:cubicBezTo>
                  <a:pt x="41" y="75"/>
                  <a:pt x="77" y="100"/>
                  <a:pt x="98" y="137"/>
                </a:cubicBezTo>
                <a:cubicBezTo>
                  <a:pt x="140" y="209"/>
                  <a:pt x="115" y="301"/>
                  <a:pt x="43" y="343"/>
                </a:cubicBezTo>
                <a:cubicBezTo>
                  <a:pt x="30" y="351"/>
                  <a:pt x="15" y="356"/>
                  <a:pt x="0" y="359"/>
                </a:cubicBezTo>
                <a:lnTo>
                  <a:pt x="0" y="426"/>
                </a:lnTo>
                <a:cubicBezTo>
                  <a:pt x="26" y="422"/>
                  <a:pt x="52" y="413"/>
                  <a:pt x="76" y="400"/>
                </a:cubicBezTo>
                <a:cubicBezTo>
                  <a:pt x="179" y="340"/>
                  <a:pt x="214" y="208"/>
                  <a:pt x="155" y="105"/>
                </a:cubicBezTo>
              </a:path>
            </a:pathLst>
          </a:custGeom>
          <a:solidFill>
            <a:schemeClr val="accent4">
              <a:alpha val="40000"/>
            </a:schemeClr>
          </a:solidFill>
          <a:ln>
            <a:noFill/>
          </a:ln>
          <a:effectLst/>
        </p:spPr>
        <p:txBody>
          <a:bodyPr wrap="none" anchor="ctr"/>
          <a:lstStyle/>
          <a:p>
            <a:endParaRPr dirty="0"/>
          </a:p>
        </p:txBody>
      </p:sp>
      <p:sp>
        <p:nvSpPr>
          <p:cNvPr id="9" name="Freeform 68">
            <a:extLst>
              <a:ext uri="{FF2B5EF4-FFF2-40B4-BE49-F238E27FC236}">
                <a16:creationId xmlns:a16="http://schemas.microsoft.com/office/drawing/2014/main" id="{73125E73-2849-4610-906B-E198401E9F42}"/>
              </a:ext>
            </a:extLst>
          </p:cNvPr>
          <p:cNvSpPr>
            <a:spLocks noChangeArrowheads="1"/>
          </p:cNvSpPr>
          <p:nvPr/>
        </p:nvSpPr>
        <p:spPr bwMode="auto">
          <a:xfrm>
            <a:off x="8851840" y="4675650"/>
            <a:ext cx="1937932" cy="2013191"/>
          </a:xfrm>
          <a:custGeom>
            <a:avLst/>
            <a:gdLst>
              <a:gd name="T0" fmla="*/ 324 w 456"/>
              <a:gd name="T1" fmla="*/ 178 h 470"/>
              <a:gd name="T2" fmla="*/ 303 w 456"/>
              <a:gd name="T3" fmla="*/ 14 h 470"/>
              <a:gd name="T4" fmla="*/ 139 w 456"/>
              <a:gd name="T5" fmla="*/ 36 h 470"/>
              <a:gd name="T6" fmla="*/ 60 w 456"/>
              <a:gd name="T7" fmla="*/ 331 h 470"/>
              <a:gd name="T8" fmla="*/ 355 w 456"/>
              <a:gd name="T9" fmla="*/ 410 h 470"/>
              <a:gd name="T10" fmla="*/ 455 w 456"/>
              <a:gd name="T11" fmla="*/ 279 h 470"/>
              <a:gd name="T12" fmla="*/ 324 w 456"/>
              <a:gd name="T13" fmla="*/ 178 h 470"/>
            </a:gdLst>
            <a:ahLst/>
            <a:cxnLst>
              <a:cxn ang="0">
                <a:pos x="T0" y="T1"/>
              </a:cxn>
              <a:cxn ang="0">
                <a:pos x="T2" y="T3"/>
              </a:cxn>
              <a:cxn ang="0">
                <a:pos x="T4" y="T5"/>
              </a:cxn>
              <a:cxn ang="0">
                <a:pos x="T6" y="T7"/>
              </a:cxn>
              <a:cxn ang="0">
                <a:pos x="T8" y="T9"/>
              </a:cxn>
              <a:cxn ang="0">
                <a:pos x="T10" y="T11"/>
              </a:cxn>
              <a:cxn ang="0">
                <a:pos x="T12" y="T13"/>
              </a:cxn>
            </a:cxnLst>
            <a:rect l="0" t="0" r="r" b="b"/>
            <a:pathLst>
              <a:path w="456" h="470">
                <a:moveTo>
                  <a:pt x="324" y="178"/>
                </a:moveTo>
                <a:cubicBezTo>
                  <a:pt x="294" y="126"/>
                  <a:pt x="288" y="67"/>
                  <a:pt x="303" y="14"/>
                </a:cubicBezTo>
                <a:cubicBezTo>
                  <a:pt x="249" y="0"/>
                  <a:pt x="190" y="6"/>
                  <a:pt x="139" y="36"/>
                </a:cubicBezTo>
                <a:cubicBezTo>
                  <a:pt x="36" y="95"/>
                  <a:pt x="0" y="227"/>
                  <a:pt x="60" y="331"/>
                </a:cubicBezTo>
                <a:cubicBezTo>
                  <a:pt x="119" y="434"/>
                  <a:pt x="252" y="469"/>
                  <a:pt x="355" y="410"/>
                </a:cubicBezTo>
                <a:cubicBezTo>
                  <a:pt x="406" y="380"/>
                  <a:pt x="441" y="332"/>
                  <a:pt x="455" y="279"/>
                </a:cubicBezTo>
                <a:cubicBezTo>
                  <a:pt x="402" y="264"/>
                  <a:pt x="354" y="230"/>
                  <a:pt x="324" y="178"/>
                </a:cubicBezTo>
              </a:path>
            </a:pathLst>
          </a:custGeom>
          <a:solidFill>
            <a:schemeClr val="accent1">
              <a:alpha val="40000"/>
            </a:schemeClr>
          </a:solidFill>
          <a:ln>
            <a:noFill/>
          </a:ln>
          <a:effectLst/>
        </p:spPr>
        <p:txBody>
          <a:bodyPr wrap="none" anchor="ctr"/>
          <a:lstStyle/>
          <a:p>
            <a:endParaRPr dirty="0"/>
          </a:p>
        </p:txBody>
      </p:sp>
      <p:sp>
        <p:nvSpPr>
          <p:cNvPr id="10" name="Freeform 69">
            <a:extLst>
              <a:ext uri="{FF2B5EF4-FFF2-40B4-BE49-F238E27FC236}">
                <a16:creationId xmlns:a16="http://schemas.microsoft.com/office/drawing/2014/main" id="{085EC0CD-5537-4033-95BA-5B7BE295665E}"/>
              </a:ext>
            </a:extLst>
          </p:cNvPr>
          <p:cNvSpPr>
            <a:spLocks noChangeArrowheads="1"/>
          </p:cNvSpPr>
          <p:nvPr/>
        </p:nvSpPr>
        <p:spPr bwMode="auto">
          <a:xfrm>
            <a:off x="10169576" y="1947508"/>
            <a:ext cx="451556" cy="733772"/>
          </a:xfrm>
          <a:custGeom>
            <a:avLst/>
            <a:gdLst>
              <a:gd name="T0" fmla="*/ 7 w 107"/>
              <a:gd name="T1" fmla="*/ 0 h 173"/>
              <a:gd name="T2" fmla="*/ 24 w 107"/>
              <a:gd name="T3" fmla="*/ 105 h 173"/>
              <a:gd name="T4" fmla="*/ 106 w 107"/>
              <a:gd name="T5" fmla="*/ 172 h 173"/>
              <a:gd name="T6" fmla="*/ 77 w 107"/>
              <a:gd name="T7" fmla="*/ 74 h 173"/>
              <a:gd name="T8" fmla="*/ 7 w 107"/>
              <a:gd name="T9" fmla="*/ 0 h 173"/>
            </a:gdLst>
            <a:ahLst/>
            <a:cxnLst>
              <a:cxn ang="0">
                <a:pos x="T0" y="T1"/>
              </a:cxn>
              <a:cxn ang="0">
                <a:pos x="T2" y="T3"/>
              </a:cxn>
              <a:cxn ang="0">
                <a:pos x="T4" y="T5"/>
              </a:cxn>
              <a:cxn ang="0">
                <a:pos x="T6" y="T7"/>
              </a:cxn>
              <a:cxn ang="0">
                <a:pos x="T8" y="T9"/>
              </a:cxn>
            </a:cxnLst>
            <a:rect l="0" t="0" r="r" b="b"/>
            <a:pathLst>
              <a:path w="107" h="173">
                <a:moveTo>
                  <a:pt x="7" y="0"/>
                </a:moveTo>
                <a:cubicBezTo>
                  <a:pt x="0" y="36"/>
                  <a:pt x="6" y="73"/>
                  <a:pt x="24" y="105"/>
                </a:cubicBezTo>
                <a:cubicBezTo>
                  <a:pt x="42" y="136"/>
                  <a:pt x="72" y="160"/>
                  <a:pt x="106" y="172"/>
                </a:cubicBezTo>
                <a:cubicBezTo>
                  <a:pt x="104" y="138"/>
                  <a:pt x="95" y="105"/>
                  <a:pt x="77" y="74"/>
                </a:cubicBezTo>
                <a:cubicBezTo>
                  <a:pt x="59" y="43"/>
                  <a:pt x="35" y="18"/>
                  <a:pt x="7" y="0"/>
                </a:cubicBezTo>
              </a:path>
            </a:pathLst>
          </a:custGeom>
          <a:solidFill>
            <a:schemeClr val="accent3">
              <a:alpha val="40000"/>
            </a:schemeClr>
          </a:solidFill>
          <a:ln>
            <a:noFill/>
          </a:ln>
          <a:effectLst/>
        </p:spPr>
        <p:txBody>
          <a:bodyPr wrap="none" anchor="ctr"/>
          <a:lstStyle/>
          <a:p>
            <a:endParaRPr dirty="0"/>
          </a:p>
        </p:txBody>
      </p:sp>
      <p:sp>
        <p:nvSpPr>
          <p:cNvPr id="11" name="Freeform 70">
            <a:extLst>
              <a:ext uri="{FF2B5EF4-FFF2-40B4-BE49-F238E27FC236}">
                <a16:creationId xmlns:a16="http://schemas.microsoft.com/office/drawing/2014/main" id="{1F65C563-1A5F-4974-AE3F-43C15F4DF605}"/>
              </a:ext>
            </a:extLst>
          </p:cNvPr>
          <p:cNvSpPr>
            <a:spLocks noChangeArrowheads="1"/>
          </p:cNvSpPr>
          <p:nvPr/>
        </p:nvSpPr>
        <p:spPr bwMode="auto">
          <a:xfrm>
            <a:off x="8670862" y="1752545"/>
            <a:ext cx="1937920" cy="2013179"/>
          </a:xfrm>
          <a:custGeom>
            <a:avLst/>
            <a:gdLst>
              <a:gd name="T0" fmla="*/ 355 w 456"/>
              <a:gd name="T1" fmla="*/ 409 h 470"/>
              <a:gd name="T2" fmla="*/ 455 w 456"/>
              <a:gd name="T3" fmla="*/ 279 h 470"/>
              <a:gd name="T4" fmla="*/ 324 w 456"/>
              <a:gd name="T5" fmla="*/ 178 h 470"/>
              <a:gd name="T6" fmla="*/ 303 w 456"/>
              <a:gd name="T7" fmla="*/ 14 h 470"/>
              <a:gd name="T8" fmla="*/ 139 w 456"/>
              <a:gd name="T9" fmla="*/ 36 h 470"/>
              <a:gd name="T10" fmla="*/ 60 w 456"/>
              <a:gd name="T11" fmla="*/ 331 h 470"/>
              <a:gd name="T12" fmla="*/ 355 w 456"/>
              <a:gd name="T13" fmla="*/ 409 h 470"/>
            </a:gdLst>
            <a:ahLst/>
            <a:cxnLst>
              <a:cxn ang="0">
                <a:pos x="T0" y="T1"/>
              </a:cxn>
              <a:cxn ang="0">
                <a:pos x="T2" y="T3"/>
              </a:cxn>
              <a:cxn ang="0">
                <a:pos x="T4" y="T5"/>
              </a:cxn>
              <a:cxn ang="0">
                <a:pos x="T6" y="T7"/>
              </a:cxn>
              <a:cxn ang="0">
                <a:pos x="T8" y="T9"/>
              </a:cxn>
              <a:cxn ang="0">
                <a:pos x="T10" y="T11"/>
              </a:cxn>
              <a:cxn ang="0">
                <a:pos x="T12" y="T13"/>
              </a:cxn>
            </a:cxnLst>
            <a:rect l="0" t="0" r="r" b="b"/>
            <a:pathLst>
              <a:path w="456" h="470">
                <a:moveTo>
                  <a:pt x="355" y="409"/>
                </a:moveTo>
                <a:cubicBezTo>
                  <a:pt x="407" y="379"/>
                  <a:pt x="441" y="332"/>
                  <a:pt x="455" y="279"/>
                </a:cubicBezTo>
                <a:cubicBezTo>
                  <a:pt x="402" y="265"/>
                  <a:pt x="353" y="229"/>
                  <a:pt x="324" y="178"/>
                </a:cubicBezTo>
                <a:cubicBezTo>
                  <a:pt x="294" y="126"/>
                  <a:pt x="288" y="68"/>
                  <a:pt x="303" y="14"/>
                </a:cubicBezTo>
                <a:cubicBezTo>
                  <a:pt x="249" y="0"/>
                  <a:pt x="191" y="6"/>
                  <a:pt x="139" y="36"/>
                </a:cubicBezTo>
                <a:cubicBezTo>
                  <a:pt x="36" y="96"/>
                  <a:pt x="0" y="228"/>
                  <a:pt x="60" y="331"/>
                </a:cubicBezTo>
                <a:cubicBezTo>
                  <a:pt x="120" y="433"/>
                  <a:pt x="252" y="469"/>
                  <a:pt x="355" y="409"/>
                </a:cubicBezTo>
              </a:path>
            </a:pathLst>
          </a:custGeom>
          <a:solidFill>
            <a:schemeClr val="accent3">
              <a:alpha val="40000"/>
            </a:schemeClr>
          </a:solidFill>
          <a:ln>
            <a:noFill/>
          </a:ln>
          <a:effectLst/>
        </p:spPr>
        <p:txBody>
          <a:bodyPr wrap="none" anchor="ctr"/>
          <a:lstStyle/>
          <a:p>
            <a:endParaRPr/>
          </a:p>
        </p:txBody>
      </p:sp>
      <p:sp>
        <p:nvSpPr>
          <p:cNvPr id="12" name="Freeform 71">
            <a:extLst>
              <a:ext uri="{FF2B5EF4-FFF2-40B4-BE49-F238E27FC236}">
                <a16:creationId xmlns:a16="http://schemas.microsoft.com/office/drawing/2014/main" id="{E52E6DC7-3D71-4068-8E4B-4198314DFAEA}"/>
              </a:ext>
            </a:extLst>
          </p:cNvPr>
          <p:cNvSpPr>
            <a:spLocks noChangeArrowheads="1"/>
          </p:cNvSpPr>
          <p:nvPr/>
        </p:nvSpPr>
        <p:spPr bwMode="auto">
          <a:xfrm>
            <a:off x="9938039" y="1147698"/>
            <a:ext cx="1937932" cy="1843852"/>
          </a:xfrm>
          <a:custGeom>
            <a:avLst/>
            <a:gdLst>
              <a:gd name="T0" fmla="*/ 63 w 456"/>
              <a:gd name="T1" fmla="*/ 177 h 433"/>
              <a:gd name="T2" fmla="*/ 133 w 456"/>
              <a:gd name="T3" fmla="*/ 86 h 433"/>
              <a:gd name="T4" fmla="*/ 208 w 456"/>
              <a:gd name="T5" fmla="*/ 66 h 433"/>
              <a:gd name="T6" fmla="*/ 208 w 456"/>
              <a:gd name="T7" fmla="*/ 66 h 433"/>
              <a:gd name="T8" fmla="*/ 339 w 456"/>
              <a:gd name="T9" fmla="*/ 141 h 433"/>
              <a:gd name="T10" fmla="*/ 284 w 456"/>
              <a:gd name="T11" fmla="*/ 347 h 433"/>
              <a:gd name="T12" fmla="*/ 209 w 456"/>
              <a:gd name="T13" fmla="*/ 367 h 433"/>
              <a:gd name="T14" fmla="*/ 160 w 456"/>
              <a:gd name="T15" fmla="*/ 359 h 433"/>
              <a:gd name="T16" fmla="*/ 152 w 456"/>
              <a:gd name="T17" fmla="*/ 425 h 433"/>
              <a:gd name="T18" fmla="*/ 209 w 456"/>
              <a:gd name="T19" fmla="*/ 432 h 433"/>
              <a:gd name="T20" fmla="*/ 316 w 456"/>
              <a:gd name="T21" fmla="*/ 403 h 433"/>
              <a:gd name="T22" fmla="*/ 395 w 456"/>
              <a:gd name="T23" fmla="*/ 108 h 433"/>
              <a:gd name="T24" fmla="*/ 208 w 456"/>
              <a:gd name="T25" fmla="*/ 0 h 433"/>
              <a:gd name="T26" fmla="*/ 100 w 456"/>
              <a:gd name="T27" fmla="*/ 29 h 433"/>
              <a:gd name="T28" fmla="*/ 0 w 456"/>
              <a:gd name="T29" fmla="*/ 160 h 433"/>
              <a:gd name="T30" fmla="*/ 61 w 456"/>
              <a:gd name="T31" fmla="*/ 187 h 433"/>
              <a:gd name="T32" fmla="*/ 63 w 456"/>
              <a:gd name="T33" fmla="*/ 177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6" h="433">
                <a:moveTo>
                  <a:pt x="63" y="177"/>
                </a:moveTo>
                <a:cubicBezTo>
                  <a:pt x="73" y="139"/>
                  <a:pt x="98" y="106"/>
                  <a:pt x="133" y="86"/>
                </a:cubicBezTo>
                <a:cubicBezTo>
                  <a:pt x="156" y="73"/>
                  <a:pt x="182" y="66"/>
                  <a:pt x="208" y="66"/>
                </a:cubicBezTo>
                <a:lnTo>
                  <a:pt x="208" y="66"/>
                </a:lnTo>
                <a:cubicBezTo>
                  <a:pt x="262" y="66"/>
                  <a:pt x="312" y="95"/>
                  <a:pt x="339" y="141"/>
                </a:cubicBezTo>
                <a:cubicBezTo>
                  <a:pt x="380" y="213"/>
                  <a:pt x="356" y="305"/>
                  <a:pt x="284" y="347"/>
                </a:cubicBezTo>
                <a:cubicBezTo>
                  <a:pt x="261" y="360"/>
                  <a:pt x="235" y="367"/>
                  <a:pt x="209" y="367"/>
                </a:cubicBezTo>
                <a:cubicBezTo>
                  <a:pt x="192" y="367"/>
                  <a:pt x="175" y="364"/>
                  <a:pt x="160" y="359"/>
                </a:cubicBezTo>
                <a:cubicBezTo>
                  <a:pt x="161" y="381"/>
                  <a:pt x="158" y="403"/>
                  <a:pt x="152" y="425"/>
                </a:cubicBezTo>
                <a:cubicBezTo>
                  <a:pt x="171" y="430"/>
                  <a:pt x="190" y="432"/>
                  <a:pt x="209" y="432"/>
                </a:cubicBezTo>
                <a:cubicBezTo>
                  <a:pt x="245" y="432"/>
                  <a:pt x="282" y="423"/>
                  <a:pt x="316" y="403"/>
                </a:cubicBezTo>
                <a:cubicBezTo>
                  <a:pt x="420" y="344"/>
                  <a:pt x="455" y="212"/>
                  <a:pt x="395" y="108"/>
                </a:cubicBezTo>
                <a:cubicBezTo>
                  <a:pt x="355" y="39"/>
                  <a:pt x="283" y="0"/>
                  <a:pt x="208" y="0"/>
                </a:cubicBezTo>
                <a:cubicBezTo>
                  <a:pt x="172" y="0"/>
                  <a:pt x="134" y="10"/>
                  <a:pt x="100" y="29"/>
                </a:cubicBezTo>
                <a:cubicBezTo>
                  <a:pt x="49" y="59"/>
                  <a:pt x="14" y="107"/>
                  <a:pt x="0" y="160"/>
                </a:cubicBezTo>
                <a:cubicBezTo>
                  <a:pt x="21" y="166"/>
                  <a:pt x="42" y="175"/>
                  <a:pt x="61" y="187"/>
                </a:cubicBezTo>
                <a:cubicBezTo>
                  <a:pt x="61" y="184"/>
                  <a:pt x="62" y="181"/>
                  <a:pt x="63" y="177"/>
                </a:cubicBezTo>
              </a:path>
            </a:pathLst>
          </a:custGeom>
          <a:solidFill>
            <a:schemeClr val="accent3"/>
          </a:solidFill>
          <a:ln>
            <a:noFill/>
          </a:ln>
          <a:effectLst/>
        </p:spPr>
        <p:txBody>
          <a:bodyPr wrap="none" anchor="ctr"/>
          <a:lstStyle/>
          <a:p>
            <a:endParaRPr dirty="0"/>
          </a:p>
        </p:txBody>
      </p:sp>
      <p:sp>
        <p:nvSpPr>
          <p:cNvPr id="13" name="Freeform 72">
            <a:extLst>
              <a:ext uri="{FF2B5EF4-FFF2-40B4-BE49-F238E27FC236}">
                <a16:creationId xmlns:a16="http://schemas.microsoft.com/office/drawing/2014/main" id="{B6315EE1-5FAA-4D29-AA3E-9E77D9BD668B}"/>
              </a:ext>
            </a:extLst>
          </p:cNvPr>
          <p:cNvSpPr>
            <a:spLocks noChangeArrowheads="1"/>
          </p:cNvSpPr>
          <p:nvPr/>
        </p:nvSpPr>
        <p:spPr bwMode="auto">
          <a:xfrm>
            <a:off x="9877772" y="1825031"/>
            <a:ext cx="752593" cy="1128889"/>
          </a:xfrm>
          <a:custGeom>
            <a:avLst/>
            <a:gdLst>
              <a:gd name="T0" fmla="*/ 36 w 177"/>
              <a:gd name="T1" fmla="*/ 164 h 266"/>
              <a:gd name="T2" fmla="*/ 167 w 177"/>
              <a:gd name="T3" fmla="*/ 265 h 266"/>
              <a:gd name="T4" fmla="*/ 175 w 177"/>
              <a:gd name="T5" fmla="*/ 199 h 266"/>
              <a:gd name="T6" fmla="*/ 93 w 177"/>
              <a:gd name="T7" fmla="*/ 132 h 266"/>
              <a:gd name="T8" fmla="*/ 76 w 177"/>
              <a:gd name="T9" fmla="*/ 27 h 266"/>
              <a:gd name="T10" fmla="*/ 15 w 177"/>
              <a:gd name="T11" fmla="*/ 0 h 266"/>
              <a:gd name="T12" fmla="*/ 36 w 177"/>
              <a:gd name="T13" fmla="*/ 164 h 266"/>
            </a:gdLst>
            <a:ahLst/>
            <a:cxnLst>
              <a:cxn ang="0">
                <a:pos x="T0" y="T1"/>
              </a:cxn>
              <a:cxn ang="0">
                <a:pos x="T2" y="T3"/>
              </a:cxn>
              <a:cxn ang="0">
                <a:pos x="T4" y="T5"/>
              </a:cxn>
              <a:cxn ang="0">
                <a:pos x="T6" y="T7"/>
              </a:cxn>
              <a:cxn ang="0">
                <a:pos x="T8" y="T9"/>
              </a:cxn>
              <a:cxn ang="0">
                <a:pos x="T10" y="T11"/>
              </a:cxn>
              <a:cxn ang="0">
                <a:pos x="T12" y="T13"/>
              </a:cxn>
            </a:cxnLst>
            <a:rect l="0" t="0" r="r" b="b"/>
            <a:pathLst>
              <a:path w="177" h="266">
                <a:moveTo>
                  <a:pt x="36" y="164"/>
                </a:moveTo>
                <a:cubicBezTo>
                  <a:pt x="66" y="216"/>
                  <a:pt x="114" y="251"/>
                  <a:pt x="167" y="265"/>
                </a:cubicBezTo>
                <a:cubicBezTo>
                  <a:pt x="173" y="243"/>
                  <a:pt x="176" y="221"/>
                  <a:pt x="175" y="199"/>
                </a:cubicBezTo>
                <a:cubicBezTo>
                  <a:pt x="141" y="187"/>
                  <a:pt x="111" y="163"/>
                  <a:pt x="93" y="132"/>
                </a:cubicBezTo>
                <a:cubicBezTo>
                  <a:pt x="75" y="100"/>
                  <a:pt x="69" y="63"/>
                  <a:pt x="76" y="27"/>
                </a:cubicBezTo>
                <a:cubicBezTo>
                  <a:pt x="57" y="15"/>
                  <a:pt x="36" y="6"/>
                  <a:pt x="15" y="0"/>
                </a:cubicBezTo>
                <a:cubicBezTo>
                  <a:pt x="0" y="54"/>
                  <a:pt x="7" y="113"/>
                  <a:pt x="36" y="164"/>
                </a:cubicBezTo>
              </a:path>
            </a:pathLst>
          </a:custGeom>
          <a:solidFill>
            <a:srgbClr val="0099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a:p>
        </p:txBody>
      </p:sp>
      <p:sp>
        <p:nvSpPr>
          <p:cNvPr id="14" name="Freeform 73">
            <a:extLst>
              <a:ext uri="{FF2B5EF4-FFF2-40B4-BE49-F238E27FC236}">
                <a16:creationId xmlns:a16="http://schemas.microsoft.com/office/drawing/2014/main" id="{1EC5BEE1-0724-4108-9E09-B51210C489C0}"/>
              </a:ext>
            </a:extLst>
          </p:cNvPr>
          <p:cNvSpPr>
            <a:spLocks noChangeArrowheads="1"/>
          </p:cNvSpPr>
          <p:nvPr/>
        </p:nvSpPr>
        <p:spPr bwMode="auto">
          <a:xfrm>
            <a:off x="9877772" y="1825031"/>
            <a:ext cx="752593" cy="1128889"/>
          </a:xfrm>
          <a:custGeom>
            <a:avLst/>
            <a:gdLst>
              <a:gd name="T0" fmla="*/ 36 w 177"/>
              <a:gd name="T1" fmla="*/ 164 h 266"/>
              <a:gd name="T2" fmla="*/ 167 w 177"/>
              <a:gd name="T3" fmla="*/ 265 h 266"/>
              <a:gd name="T4" fmla="*/ 175 w 177"/>
              <a:gd name="T5" fmla="*/ 199 h 266"/>
              <a:gd name="T6" fmla="*/ 93 w 177"/>
              <a:gd name="T7" fmla="*/ 132 h 266"/>
              <a:gd name="T8" fmla="*/ 76 w 177"/>
              <a:gd name="T9" fmla="*/ 27 h 266"/>
              <a:gd name="T10" fmla="*/ 15 w 177"/>
              <a:gd name="T11" fmla="*/ 0 h 266"/>
              <a:gd name="T12" fmla="*/ 36 w 177"/>
              <a:gd name="T13" fmla="*/ 164 h 266"/>
            </a:gdLst>
            <a:ahLst/>
            <a:cxnLst>
              <a:cxn ang="0">
                <a:pos x="T0" y="T1"/>
              </a:cxn>
              <a:cxn ang="0">
                <a:pos x="T2" y="T3"/>
              </a:cxn>
              <a:cxn ang="0">
                <a:pos x="T4" y="T5"/>
              </a:cxn>
              <a:cxn ang="0">
                <a:pos x="T6" y="T7"/>
              </a:cxn>
              <a:cxn ang="0">
                <a:pos x="T8" y="T9"/>
              </a:cxn>
              <a:cxn ang="0">
                <a:pos x="T10" y="T11"/>
              </a:cxn>
              <a:cxn ang="0">
                <a:pos x="T12" y="T13"/>
              </a:cxn>
            </a:cxnLst>
            <a:rect l="0" t="0" r="r" b="b"/>
            <a:pathLst>
              <a:path w="177" h="266">
                <a:moveTo>
                  <a:pt x="36" y="164"/>
                </a:moveTo>
                <a:cubicBezTo>
                  <a:pt x="66" y="216"/>
                  <a:pt x="114" y="251"/>
                  <a:pt x="167" y="265"/>
                </a:cubicBezTo>
                <a:cubicBezTo>
                  <a:pt x="173" y="243"/>
                  <a:pt x="176" y="221"/>
                  <a:pt x="175" y="199"/>
                </a:cubicBezTo>
                <a:cubicBezTo>
                  <a:pt x="141" y="187"/>
                  <a:pt x="111" y="163"/>
                  <a:pt x="93" y="132"/>
                </a:cubicBezTo>
                <a:cubicBezTo>
                  <a:pt x="75" y="100"/>
                  <a:pt x="69" y="63"/>
                  <a:pt x="76" y="27"/>
                </a:cubicBezTo>
                <a:cubicBezTo>
                  <a:pt x="57" y="15"/>
                  <a:pt x="36" y="6"/>
                  <a:pt x="15" y="0"/>
                </a:cubicBezTo>
                <a:cubicBezTo>
                  <a:pt x="0" y="54"/>
                  <a:pt x="7" y="113"/>
                  <a:pt x="36" y="164"/>
                </a:cubicBezTo>
              </a:path>
            </a:pathLst>
          </a:custGeom>
          <a:solidFill>
            <a:schemeClr val="accent3"/>
          </a:solidFill>
          <a:ln>
            <a:noFill/>
          </a:ln>
          <a:effectLst/>
        </p:spPr>
        <p:txBody>
          <a:bodyPr wrap="none" anchor="ctr"/>
          <a:lstStyle/>
          <a:p>
            <a:endParaRPr/>
          </a:p>
        </p:txBody>
      </p:sp>
      <p:sp>
        <p:nvSpPr>
          <p:cNvPr id="15" name="Freeform 74">
            <a:extLst>
              <a:ext uri="{FF2B5EF4-FFF2-40B4-BE49-F238E27FC236}">
                <a16:creationId xmlns:a16="http://schemas.microsoft.com/office/drawing/2014/main" id="{0FFA210F-24E4-4D21-9E52-062CE00C17E8}"/>
              </a:ext>
            </a:extLst>
          </p:cNvPr>
          <p:cNvSpPr>
            <a:spLocks noChangeArrowheads="1"/>
          </p:cNvSpPr>
          <p:nvPr/>
        </p:nvSpPr>
        <p:spPr bwMode="auto">
          <a:xfrm>
            <a:off x="714963" y="4280365"/>
            <a:ext cx="5531556" cy="2577635"/>
          </a:xfrm>
          <a:custGeom>
            <a:avLst/>
            <a:gdLst>
              <a:gd name="T0" fmla="*/ 1237 w 1298"/>
              <a:gd name="T1" fmla="*/ 139 h 605"/>
              <a:gd name="T2" fmla="*/ 942 w 1298"/>
              <a:gd name="T3" fmla="*/ 60 h 605"/>
              <a:gd name="T4" fmla="*/ 0 w 1298"/>
              <a:gd name="T5" fmla="*/ 604 h 605"/>
              <a:gd name="T6" fmla="*/ 864 w 1298"/>
              <a:gd name="T7" fmla="*/ 604 h 605"/>
              <a:gd name="T8" fmla="*/ 1158 w 1298"/>
              <a:gd name="T9" fmla="*/ 434 h 605"/>
              <a:gd name="T10" fmla="*/ 1237 w 1298"/>
              <a:gd name="T11" fmla="*/ 139 h 605"/>
            </a:gdLst>
            <a:ahLst/>
            <a:cxnLst>
              <a:cxn ang="0">
                <a:pos x="T0" y="T1"/>
              </a:cxn>
              <a:cxn ang="0">
                <a:pos x="T2" y="T3"/>
              </a:cxn>
              <a:cxn ang="0">
                <a:pos x="T4" y="T5"/>
              </a:cxn>
              <a:cxn ang="0">
                <a:pos x="T6" y="T7"/>
              </a:cxn>
              <a:cxn ang="0">
                <a:pos x="T8" y="T9"/>
              </a:cxn>
              <a:cxn ang="0">
                <a:pos x="T10" y="T11"/>
              </a:cxn>
            </a:cxnLst>
            <a:rect l="0" t="0" r="r" b="b"/>
            <a:pathLst>
              <a:path w="1298" h="605">
                <a:moveTo>
                  <a:pt x="1237" y="139"/>
                </a:moveTo>
                <a:cubicBezTo>
                  <a:pt x="1177" y="36"/>
                  <a:pt x="1045" y="0"/>
                  <a:pt x="942" y="60"/>
                </a:cubicBezTo>
                <a:lnTo>
                  <a:pt x="0" y="604"/>
                </a:lnTo>
                <a:lnTo>
                  <a:pt x="864" y="604"/>
                </a:lnTo>
                <a:lnTo>
                  <a:pt x="1158" y="434"/>
                </a:lnTo>
                <a:cubicBezTo>
                  <a:pt x="1261" y="374"/>
                  <a:pt x="1297" y="242"/>
                  <a:pt x="1237" y="139"/>
                </a:cubicBezTo>
              </a:path>
            </a:pathLst>
          </a:custGeom>
          <a:solidFill>
            <a:schemeClr val="accent3"/>
          </a:solidFill>
          <a:ln>
            <a:noFill/>
          </a:ln>
          <a:effectLst/>
        </p:spPr>
        <p:txBody>
          <a:bodyPr wrap="none" anchor="ctr"/>
          <a:lstStyle/>
          <a:p>
            <a:endParaRPr dirty="0"/>
          </a:p>
        </p:txBody>
      </p:sp>
      <p:sp>
        <p:nvSpPr>
          <p:cNvPr id="16" name="Freeform 75">
            <a:extLst>
              <a:ext uri="{FF2B5EF4-FFF2-40B4-BE49-F238E27FC236}">
                <a16:creationId xmlns:a16="http://schemas.microsoft.com/office/drawing/2014/main" id="{3E1A5540-8089-4989-A345-C0649F6FACA8}"/>
              </a:ext>
            </a:extLst>
          </p:cNvPr>
          <p:cNvSpPr>
            <a:spLocks noChangeArrowheads="1"/>
          </p:cNvSpPr>
          <p:nvPr/>
        </p:nvSpPr>
        <p:spPr bwMode="auto">
          <a:xfrm>
            <a:off x="10065920" y="3236148"/>
            <a:ext cx="2126080" cy="2690512"/>
          </a:xfrm>
          <a:custGeom>
            <a:avLst/>
            <a:gdLst>
              <a:gd name="T0" fmla="*/ 15 w 499"/>
              <a:gd name="T1" fmla="*/ 352 h 632"/>
              <a:gd name="T2" fmla="*/ 36 w 499"/>
              <a:gd name="T3" fmla="*/ 516 h 632"/>
              <a:gd name="T4" fmla="*/ 167 w 499"/>
              <a:gd name="T5" fmla="*/ 617 h 632"/>
              <a:gd name="T6" fmla="*/ 331 w 499"/>
              <a:gd name="T7" fmla="*/ 595 h 632"/>
              <a:gd name="T8" fmla="*/ 498 w 499"/>
              <a:gd name="T9" fmla="*/ 499 h 632"/>
              <a:gd name="T10" fmla="*/ 498 w 499"/>
              <a:gd name="T11" fmla="*/ 0 h 632"/>
              <a:gd name="T12" fmla="*/ 115 w 499"/>
              <a:gd name="T13" fmla="*/ 221 h 632"/>
              <a:gd name="T14" fmla="*/ 15 w 499"/>
              <a:gd name="T15" fmla="*/ 352 h 6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9" h="632">
                <a:moveTo>
                  <a:pt x="15" y="352"/>
                </a:moveTo>
                <a:cubicBezTo>
                  <a:pt x="0" y="405"/>
                  <a:pt x="6" y="464"/>
                  <a:pt x="36" y="516"/>
                </a:cubicBezTo>
                <a:cubicBezTo>
                  <a:pt x="66" y="568"/>
                  <a:pt x="114" y="602"/>
                  <a:pt x="167" y="617"/>
                </a:cubicBezTo>
                <a:cubicBezTo>
                  <a:pt x="221" y="631"/>
                  <a:pt x="280" y="625"/>
                  <a:pt x="331" y="595"/>
                </a:cubicBezTo>
                <a:lnTo>
                  <a:pt x="498" y="499"/>
                </a:lnTo>
                <a:lnTo>
                  <a:pt x="498" y="0"/>
                </a:lnTo>
                <a:lnTo>
                  <a:pt x="115" y="221"/>
                </a:lnTo>
                <a:cubicBezTo>
                  <a:pt x="64" y="251"/>
                  <a:pt x="29" y="299"/>
                  <a:pt x="15" y="352"/>
                </a:cubicBezTo>
              </a:path>
            </a:pathLst>
          </a:custGeom>
          <a:solidFill>
            <a:schemeClr val="accent1"/>
          </a:solidFill>
          <a:ln>
            <a:noFill/>
          </a:ln>
          <a:effectLst/>
        </p:spPr>
        <p:txBody>
          <a:bodyPr wrap="none" anchor="ctr"/>
          <a:lstStyle/>
          <a:p>
            <a:endParaRPr dirty="0"/>
          </a:p>
        </p:txBody>
      </p:sp>
      <p:sp>
        <p:nvSpPr>
          <p:cNvPr id="17" name="Freeform 76">
            <a:extLst>
              <a:ext uri="{FF2B5EF4-FFF2-40B4-BE49-F238E27FC236}">
                <a16:creationId xmlns:a16="http://schemas.microsoft.com/office/drawing/2014/main" id="{8C16E441-DE46-4AD1-AC51-EA11737B68C6}"/>
              </a:ext>
            </a:extLst>
          </p:cNvPr>
          <p:cNvSpPr>
            <a:spLocks noChangeArrowheads="1"/>
          </p:cNvSpPr>
          <p:nvPr/>
        </p:nvSpPr>
        <p:spPr bwMode="auto">
          <a:xfrm>
            <a:off x="4477926" y="0"/>
            <a:ext cx="3988741" cy="1712142"/>
          </a:xfrm>
          <a:custGeom>
            <a:avLst/>
            <a:gdLst>
              <a:gd name="T0" fmla="*/ 50 w 934"/>
              <a:gd name="T1" fmla="*/ 260 h 400"/>
              <a:gd name="T2" fmla="*/ 345 w 934"/>
              <a:gd name="T3" fmla="*/ 339 h 400"/>
              <a:gd name="T4" fmla="*/ 933 w 934"/>
              <a:gd name="T5" fmla="*/ 0 h 400"/>
              <a:gd name="T6" fmla="*/ 84 w 934"/>
              <a:gd name="T7" fmla="*/ 0 h 400"/>
              <a:gd name="T8" fmla="*/ 50 w 934"/>
              <a:gd name="T9" fmla="*/ 260 h 400"/>
            </a:gdLst>
            <a:ahLst/>
            <a:cxnLst>
              <a:cxn ang="0">
                <a:pos x="T0" y="T1"/>
              </a:cxn>
              <a:cxn ang="0">
                <a:pos x="T2" y="T3"/>
              </a:cxn>
              <a:cxn ang="0">
                <a:pos x="T4" y="T5"/>
              </a:cxn>
              <a:cxn ang="0">
                <a:pos x="T6" y="T7"/>
              </a:cxn>
              <a:cxn ang="0">
                <a:pos x="T8" y="T9"/>
              </a:cxn>
            </a:cxnLst>
            <a:rect l="0" t="0" r="r" b="b"/>
            <a:pathLst>
              <a:path w="934" h="400">
                <a:moveTo>
                  <a:pt x="50" y="260"/>
                </a:moveTo>
                <a:cubicBezTo>
                  <a:pt x="110" y="363"/>
                  <a:pt x="242" y="399"/>
                  <a:pt x="345" y="339"/>
                </a:cubicBezTo>
                <a:lnTo>
                  <a:pt x="933" y="0"/>
                </a:lnTo>
                <a:lnTo>
                  <a:pt x="84" y="0"/>
                </a:lnTo>
                <a:cubicBezTo>
                  <a:pt x="17" y="67"/>
                  <a:pt x="0" y="174"/>
                  <a:pt x="50" y="260"/>
                </a:cubicBezTo>
              </a:path>
            </a:pathLst>
          </a:custGeom>
          <a:solidFill>
            <a:schemeClr val="accent4"/>
          </a:solidFill>
          <a:ln>
            <a:noFill/>
          </a:ln>
          <a:effectLst/>
        </p:spPr>
        <p:txBody>
          <a:bodyPr wrap="none" anchor="ctr"/>
          <a:lstStyle/>
          <a:p>
            <a:endParaRPr dirty="0"/>
          </a:p>
        </p:txBody>
      </p:sp>
      <p:sp>
        <p:nvSpPr>
          <p:cNvPr id="2" name="Title 1">
            <a:extLst>
              <a:ext uri="{FF2B5EF4-FFF2-40B4-BE49-F238E27FC236}">
                <a16:creationId xmlns:a16="http://schemas.microsoft.com/office/drawing/2014/main" id="{EC9DBBEB-CFD6-4E01-A45F-4CB0419CF96A}"/>
              </a:ext>
            </a:extLst>
          </p:cNvPr>
          <p:cNvSpPr>
            <a:spLocks noGrp="1"/>
          </p:cNvSpPr>
          <p:nvPr userDrawn="1">
            <p:ph type="title"/>
          </p:nvPr>
        </p:nvSpPr>
        <p:spPr>
          <a:xfrm>
            <a:off x="1343025" y="2083034"/>
            <a:ext cx="7200900" cy="1612666"/>
          </a:xfrm>
        </p:spPr>
        <p:txBody>
          <a:bodyPr vert="horz" lIns="0" tIns="0" rIns="0" bIns="0" rtlCol="0" anchor="t" anchorCtr="0">
            <a:normAutofit/>
          </a:bodyPr>
          <a:lstStyle>
            <a:lvl1pPr marL="0" indent="0">
              <a:buFont typeface="Arial" panose="020B0604020202020204" pitchFamily="34" charset="0"/>
              <a:buNone/>
              <a:defRPr lang="en-GB" sz="5400" dirty="0"/>
            </a:lvl1pPr>
          </a:lstStyle>
          <a:p>
            <a:pPr lvl="0"/>
            <a:r>
              <a:rPr lang="en-US" dirty="0"/>
              <a:t>Click to edit Master title style</a:t>
            </a:r>
            <a:endParaRPr lang="en-GB" dirty="0"/>
          </a:p>
        </p:txBody>
      </p:sp>
      <p:sp>
        <p:nvSpPr>
          <p:cNvPr id="3" name="Text Placeholder 2">
            <a:extLst>
              <a:ext uri="{FF2B5EF4-FFF2-40B4-BE49-F238E27FC236}">
                <a16:creationId xmlns:a16="http://schemas.microsoft.com/office/drawing/2014/main" id="{278E103B-4121-4BCA-89E5-49B0F4DAAC9B}"/>
              </a:ext>
            </a:extLst>
          </p:cNvPr>
          <p:cNvSpPr>
            <a:spLocks noGrp="1"/>
          </p:cNvSpPr>
          <p:nvPr userDrawn="1">
            <p:ph type="body" idx="1"/>
          </p:nvPr>
        </p:nvSpPr>
        <p:spPr>
          <a:xfrm>
            <a:off x="1343025" y="3066707"/>
            <a:ext cx="7200900" cy="1154381"/>
          </a:xfrm>
        </p:spPr>
        <p:txBody>
          <a:bodyPr vert="horz" lIns="0" tIns="0" rIns="0" bIns="0" rtlCol="0" anchor="t" anchorCtr="0">
            <a:normAutofit/>
          </a:bodyPr>
          <a:lstStyle>
            <a:lvl1pPr marL="0" indent="0">
              <a:spcBef>
                <a:spcPts val="0"/>
              </a:spcBef>
              <a:buNone/>
              <a:defRPr lang="en-US" sz="2800" smtClean="0">
                <a:solidFill>
                  <a:schemeClr val="accent2"/>
                </a:solidFill>
              </a:defRPr>
            </a:lvl1pPr>
          </a:lstStyle>
          <a:p>
            <a:pPr marL="228600" lvl="0" indent="-228600">
              <a:spcAft>
                <a:spcPts val="0"/>
              </a:spcAft>
            </a:pPr>
            <a:r>
              <a:rPr lang="en-US" dirty="0"/>
              <a:t>Click to edit Master text styles</a:t>
            </a:r>
          </a:p>
        </p:txBody>
      </p:sp>
      <p:sp>
        <p:nvSpPr>
          <p:cNvPr id="20" name="Rechthoek 2">
            <a:extLst>
              <a:ext uri="{FF2B5EF4-FFF2-40B4-BE49-F238E27FC236}">
                <a16:creationId xmlns:a16="http://schemas.microsoft.com/office/drawing/2014/main" id="{FE199E3B-1563-0243-BBBB-DA5F93F21013}"/>
              </a:ext>
            </a:extLst>
          </p:cNvPr>
          <p:cNvSpPr/>
          <p:nvPr userDrawn="1"/>
        </p:nvSpPr>
        <p:spPr>
          <a:xfrm>
            <a:off x="10002839" y="143250"/>
            <a:ext cx="1633781"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accent4"/>
                </a:solidFill>
                <a:effectLst/>
                <a:uLnTx/>
                <a:uFillTx/>
                <a:latin typeface="+mn-lt"/>
                <a:ea typeface="+mn-ea"/>
                <a:cs typeface="+mn-cs"/>
              </a:rPr>
              <a:t>Colt confidential</a:t>
            </a:r>
          </a:p>
        </p:txBody>
      </p:sp>
    </p:spTree>
    <p:extLst>
      <p:ext uri="{BB962C8B-B14F-4D97-AF65-F5344CB8AC3E}">
        <p14:creationId xmlns:p14="http://schemas.microsoft.com/office/powerpoint/2010/main" val="252711908"/>
      </p:ext>
    </p:extLst>
  </p:cSld>
  <p:clrMapOvr>
    <a:masterClrMapping/>
  </p:clrMapOvr>
  <p:extLst>
    <p:ext uri="{DCECCB84-F9BA-43D5-87BE-67443E8EF086}">
      <p15:sldGuideLst xmlns:p15="http://schemas.microsoft.com/office/powerpoint/2012/main">
        <p15:guide id="1" pos="846">
          <p15:clr>
            <a:srgbClr val="FBAE40"/>
          </p15:clr>
        </p15:guide>
        <p15:guide id="2" pos="5382">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type="secHead" preserve="1">
  <p:cSld name="2_Section Header">
    <p:spTree>
      <p:nvGrpSpPr>
        <p:cNvPr id="1" name=""/>
        <p:cNvGrpSpPr/>
        <p:nvPr/>
      </p:nvGrpSpPr>
      <p:grpSpPr>
        <a:xfrm>
          <a:off x="0" y="0"/>
          <a:ext cx="0" cy="0"/>
          <a:chOff x="0" y="0"/>
          <a:chExt cx="0" cy="0"/>
        </a:xfrm>
      </p:grpSpPr>
      <p:sp>
        <p:nvSpPr>
          <p:cNvPr id="8" name="Freeform 67">
            <a:extLst>
              <a:ext uri="{FF2B5EF4-FFF2-40B4-BE49-F238E27FC236}">
                <a16:creationId xmlns:a16="http://schemas.microsoft.com/office/drawing/2014/main" id="{F6E627BD-49CF-47F3-90F5-8DE5C3B0C487}"/>
              </a:ext>
            </a:extLst>
          </p:cNvPr>
          <p:cNvSpPr>
            <a:spLocks noChangeArrowheads="1"/>
          </p:cNvSpPr>
          <p:nvPr/>
        </p:nvSpPr>
        <p:spPr bwMode="auto">
          <a:xfrm>
            <a:off x="0" y="2991549"/>
            <a:ext cx="921920" cy="1825043"/>
          </a:xfrm>
          <a:custGeom>
            <a:avLst/>
            <a:gdLst>
              <a:gd name="T0" fmla="*/ 155 w 215"/>
              <a:gd name="T1" fmla="*/ 105 h 427"/>
              <a:gd name="T2" fmla="*/ 0 w 215"/>
              <a:gd name="T3" fmla="*/ 0 h 427"/>
              <a:gd name="T4" fmla="*/ 0 w 215"/>
              <a:gd name="T5" fmla="*/ 66 h 427"/>
              <a:gd name="T6" fmla="*/ 98 w 215"/>
              <a:gd name="T7" fmla="*/ 137 h 427"/>
              <a:gd name="T8" fmla="*/ 43 w 215"/>
              <a:gd name="T9" fmla="*/ 343 h 427"/>
              <a:gd name="T10" fmla="*/ 0 w 215"/>
              <a:gd name="T11" fmla="*/ 359 h 427"/>
              <a:gd name="T12" fmla="*/ 0 w 215"/>
              <a:gd name="T13" fmla="*/ 426 h 427"/>
              <a:gd name="T14" fmla="*/ 76 w 215"/>
              <a:gd name="T15" fmla="*/ 400 h 427"/>
              <a:gd name="T16" fmla="*/ 155 w 215"/>
              <a:gd name="T17" fmla="*/ 105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5" h="427">
                <a:moveTo>
                  <a:pt x="155" y="105"/>
                </a:moveTo>
                <a:cubicBezTo>
                  <a:pt x="121" y="47"/>
                  <a:pt x="63" y="10"/>
                  <a:pt x="0" y="0"/>
                </a:cubicBezTo>
                <a:lnTo>
                  <a:pt x="0" y="66"/>
                </a:lnTo>
                <a:cubicBezTo>
                  <a:pt x="41" y="75"/>
                  <a:pt x="77" y="100"/>
                  <a:pt x="98" y="137"/>
                </a:cubicBezTo>
                <a:cubicBezTo>
                  <a:pt x="140" y="209"/>
                  <a:pt x="115" y="301"/>
                  <a:pt x="43" y="343"/>
                </a:cubicBezTo>
                <a:cubicBezTo>
                  <a:pt x="30" y="351"/>
                  <a:pt x="15" y="356"/>
                  <a:pt x="0" y="359"/>
                </a:cubicBezTo>
                <a:lnTo>
                  <a:pt x="0" y="426"/>
                </a:lnTo>
                <a:cubicBezTo>
                  <a:pt x="26" y="422"/>
                  <a:pt x="52" y="413"/>
                  <a:pt x="76" y="400"/>
                </a:cubicBezTo>
                <a:cubicBezTo>
                  <a:pt x="179" y="340"/>
                  <a:pt x="214" y="208"/>
                  <a:pt x="155" y="105"/>
                </a:cubicBezTo>
              </a:path>
            </a:pathLst>
          </a:custGeom>
          <a:solidFill>
            <a:schemeClr val="accent1">
              <a:alpha val="40000"/>
            </a:schemeClr>
          </a:solidFill>
          <a:ln>
            <a:noFill/>
          </a:ln>
          <a:effectLst/>
        </p:spPr>
        <p:txBody>
          <a:bodyPr wrap="none" anchor="ctr"/>
          <a:lstStyle/>
          <a:p>
            <a:endParaRPr dirty="0"/>
          </a:p>
        </p:txBody>
      </p:sp>
      <p:sp>
        <p:nvSpPr>
          <p:cNvPr id="9" name="Freeform 68">
            <a:extLst>
              <a:ext uri="{FF2B5EF4-FFF2-40B4-BE49-F238E27FC236}">
                <a16:creationId xmlns:a16="http://schemas.microsoft.com/office/drawing/2014/main" id="{73125E73-2849-4610-906B-E198401E9F42}"/>
              </a:ext>
            </a:extLst>
          </p:cNvPr>
          <p:cNvSpPr>
            <a:spLocks noChangeArrowheads="1"/>
          </p:cNvSpPr>
          <p:nvPr/>
        </p:nvSpPr>
        <p:spPr bwMode="auto">
          <a:xfrm>
            <a:off x="8851840" y="4675650"/>
            <a:ext cx="1937932" cy="2013191"/>
          </a:xfrm>
          <a:custGeom>
            <a:avLst/>
            <a:gdLst>
              <a:gd name="T0" fmla="*/ 324 w 456"/>
              <a:gd name="T1" fmla="*/ 178 h 470"/>
              <a:gd name="T2" fmla="*/ 303 w 456"/>
              <a:gd name="T3" fmla="*/ 14 h 470"/>
              <a:gd name="T4" fmla="*/ 139 w 456"/>
              <a:gd name="T5" fmla="*/ 36 h 470"/>
              <a:gd name="T6" fmla="*/ 60 w 456"/>
              <a:gd name="T7" fmla="*/ 331 h 470"/>
              <a:gd name="T8" fmla="*/ 355 w 456"/>
              <a:gd name="T9" fmla="*/ 410 h 470"/>
              <a:gd name="T10" fmla="*/ 455 w 456"/>
              <a:gd name="T11" fmla="*/ 279 h 470"/>
              <a:gd name="T12" fmla="*/ 324 w 456"/>
              <a:gd name="T13" fmla="*/ 178 h 470"/>
            </a:gdLst>
            <a:ahLst/>
            <a:cxnLst>
              <a:cxn ang="0">
                <a:pos x="T0" y="T1"/>
              </a:cxn>
              <a:cxn ang="0">
                <a:pos x="T2" y="T3"/>
              </a:cxn>
              <a:cxn ang="0">
                <a:pos x="T4" y="T5"/>
              </a:cxn>
              <a:cxn ang="0">
                <a:pos x="T6" y="T7"/>
              </a:cxn>
              <a:cxn ang="0">
                <a:pos x="T8" y="T9"/>
              </a:cxn>
              <a:cxn ang="0">
                <a:pos x="T10" y="T11"/>
              </a:cxn>
              <a:cxn ang="0">
                <a:pos x="T12" y="T13"/>
              </a:cxn>
            </a:cxnLst>
            <a:rect l="0" t="0" r="r" b="b"/>
            <a:pathLst>
              <a:path w="456" h="470">
                <a:moveTo>
                  <a:pt x="324" y="178"/>
                </a:moveTo>
                <a:cubicBezTo>
                  <a:pt x="294" y="126"/>
                  <a:pt x="288" y="67"/>
                  <a:pt x="303" y="14"/>
                </a:cubicBezTo>
                <a:cubicBezTo>
                  <a:pt x="249" y="0"/>
                  <a:pt x="190" y="6"/>
                  <a:pt x="139" y="36"/>
                </a:cubicBezTo>
                <a:cubicBezTo>
                  <a:pt x="36" y="95"/>
                  <a:pt x="0" y="227"/>
                  <a:pt x="60" y="331"/>
                </a:cubicBezTo>
                <a:cubicBezTo>
                  <a:pt x="119" y="434"/>
                  <a:pt x="252" y="469"/>
                  <a:pt x="355" y="410"/>
                </a:cubicBezTo>
                <a:cubicBezTo>
                  <a:pt x="406" y="380"/>
                  <a:pt x="441" y="332"/>
                  <a:pt x="455" y="279"/>
                </a:cubicBezTo>
                <a:cubicBezTo>
                  <a:pt x="402" y="264"/>
                  <a:pt x="354" y="230"/>
                  <a:pt x="324" y="178"/>
                </a:cubicBezTo>
              </a:path>
            </a:pathLst>
          </a:custGeom>
          <a:solidFill>
            <a:schemeClr val="accent4">
              <a:alpha val="40000"/>
            </a:schemeClr>
          </a:solidFill>
          <a:ln>
            <a:noFill/>
          </a:ln>
          <a:effectLst/>
        </p:spPr>
        <p:txBody>
          <a:bodyPr wrap="none" anchor="ctr"/>
          <a:lstStyle/>
          <a:p>
            <a:endParaRPr dirty="0"/>
          </a:p>
        </p:txBody>
      </p:sp>
      <p:sp>
        <p:nvSpPr>
          <p:cNvPr id="10" name="Freeform 69">
            <a:extLst>
              <a:ext uri="{FF2B5EF4-FFF2-40B4-BE49-F238E27FC236}">
                <a16:creationId xmlns:a16="http://schemas.microsoft.com/office/drawing/2014/main" id="{085EC0CD-5537-4033-95BA-5B7BE295665E}"/>
              </a:ext>
            </a:extLst>
          </p:cNvPr>
          <p:cNvSpPr>
            <a:spLocks noChangeArrowheads="1"/>
          </p:cNvSpPr>
          <p:nvPr/>
        </p:nvSpPr>
        <p:spPr bwMode="auto">
          <a:xfrm>
            <a:off x="10169576" y="1947508"/>
            <a:ext cx="451556" cy="733772"/>
          </a:xfrm>
          <a:custGeom>
            <a:avLst/>
            <a:gdLst>
              <a:gd name="T0" fmla="*/ 7 w 107"/>
              <a:gd name="T1" fmla="*/ 0 h 173"/>
              <a:gd name="T2" fmla="*/ 24 w 107"/>
              <a:gd name="T3" fmla="*/ 105 h 173"/>
              <a:gd name="T4" fmla="*/ 106 w 107"/>
              <a:gd name="T5" fmla="*/ 172 h 173"/>
              <a:gd name="T6" fmla="*/ 77 w 107"/>
              <a:gd name="T7" fmla="*/ 74 h 173"/>
              <a:gd name="T8" fmla="*/ 7 w 107"/>
              <a:gd name="T9" fmla="*/ 0 h 173"/>
            </a:gdLst>
            <a:ahLst/>
            <a:cxnLst>
              <a:cxn ang="0">
                <a:pos x="T0" y="T1"/>
              </a:cxn>
              <a:cxn ang="0">
                <a:pos x="T2" y="T3"/>
              </a:cxn>
              <a:cxn ang="0">
                <a:pos x="T4" y="T5"/>
              </a:cxn>
              <a:cxn ang="0">
                <a:pos x="T6" y="T7"/>
              </a:cxn>
              <a:cxn ang="0">
                <a:pos x="T8" y="T9"/>
              </a:cxn>
            </a:cxnLst>
            <a:rect l="0" t="0" r="r" b="b"/>
            <a:pathLst>
              <a:path w="107" h="173">
                <a:moveTo>
                  <a:pt x="7" y="0"/>
                </a:moveTo>
                <a:cubicBezTo>
                  <a:pt x="0" y="36"/>
                  <a:pt x="6" y="73"/>
                  <a:pt x="24" y="105"/>
                </a:cubicBezTo>
                <a:cubicBezTo>
                  <a:pt x="42" y="136"/>
                  <a:pt x="72" y="160"/>
                  <a:pt x="106" y="172"/>
                </a:cubicBezTo>
                <a:cubicBezTo>
                  <a:pt x="104" y="138"/>
                  <a:pt x="95" y="105"/>
                  <a:pt x="77" y="74"/>
                </a:cubicBezTo>
                <a:cubicBezTo>
                  <a:pt x="59" y="43"/>
                  <a:pt x="35" y="18"/>
                  <a:pt x="7" y="0"/>
                </a:cubicBezTo>
              </a:path>
            </a:pathLst>
          </a:custGeom>
          <a:solidFill>
            <a:schemeClr val="accent5">
              <a:alpha val="40000"/>
            </a:schemeClr>
          </a:solidFill>
          <a:ln>
            <a:noFill/>
          </a:ln>
          <a:effectLst/>
        </p:spPr>
        <p:txBody>
          <a:bodyPr wrap="none" anchor="ctr"/>
          <a:lstStyle/>
          <a:p>
            <a:endParaRPr dirty="0"/>
          </a:p>
        </p:txBody>
      </p:sp>
      <p:sp>
        <p:nvSpPr>
          <p:cNvPr id="11" name="Freeform 70">
            <a:extLst>
              <a:ext uri="{FF2B5EF4-FFF2-40B4-BE49-F238E27FC236}">
                <a16:creationId xmlns:a16="http://schemas.microsoft.com/office/drawing/2014/main" id="{1F65C563-1A5F-4974-AE3F-43C15F4DF605}"/>
              </a:ext>
            </a:extLst>
          </p:cNvPr>
          <p:cNvSpPr>
            <a:spLocks noChangeArrowheads="1"/>
          </p:cNvSpPr>
          <p:nvPr/>
        </p:nvSpPr>
        <p:spPr bwMode="auto">
          <a:xfrm>
            <a:off x="8670862" y="1752545"/>
            <a:ext cx="1937920" cy="2013179"/>
          </a:xfrm>
          <a:custGeom>
            <a:avLst/>
            <a:gdLst>
              <a:gd name="T0" fmla="*/ 355 w 456"/>
              <a:gd name="T1" fmla="*/ 409 h 470"/>
              <a:gd name="T2" fmla="*/ 455 w 456"/>
              <a:gd name="T3" fmla="*/ 279 h 470"/>
              <a:gd name="T4" fmla="*/ 324 w 456"/>
              <a:gd name="T5" fmla="*/ 178 h 470"/>
              <a:gd name="T6" fmla="*/ 303 w 456"/>
              <a:gd name="T7" fmla="*/ 14 h 470"/>
              <a:gd name="T8" fmla="*/ 139 w 456"/>
              <a:gd name="T9" fmla="*/ 36 h 470"/>
              <a:gd name="T10" fmla="*/ 60 w 456"/>
              <a:gd name="T11" fmla="*/ 331 h 470"/>
              <a:gd name="T12" fmla="*/ 355 w 456"/>
              <a:gd name="T13" fmla="*/ 409 h 470"/>
            </a:gdLst>
            <a:ahLst/>
            <a:cxnLst>
              <a:cxn ang="0">
                <a:pos x="T0" y="T1"/>
              </a:cxn>
              <a:cxn ang="0">
                <a:pos x="T2" y="T3"/>
              </a:cxn>
              <a:cxn ang="0">
                <a:pos x="T4" y="T5"/>
              </a:cxn>
              <a:cxn ang="0">
                <a:pos x="T6" y="T7"/>
              </a:cxn>
              <a:cxn ang="0">
                <a:pos x="T8" y="T9"/>
              </a:cxn>
              <a:cxn ang="0">
                <a:pos x="T10" y="T11"/>
              </a:cxn>
              <a:cxn ang="0">
                <a:pos x="T12" y="T13"/>
              </a:cxn>
            </a:cxnLst>
            <a:rect l="0" t="0" r="r" b="b"/>
            <a:pathLst>
              <a:path w="456" h="470">
                <a:moveTo>
                  <a:pt x="355" y="409"/>
                </a:moveTo>
                <a:cubicBezTo>
                  <a:pt x="407" y="379"/>
                  <a:pt x="441" y="332"/>
                  <a:pt x="455" y="279"/>
                </a:cubicBezTo>
                <a:cubicBezTo>
                  <a:pt x="402" y="265"/>
                  <a:pt x="353" y="229"/>
                  <a:pt x="324" y="178"/>
                </a:cubicBezTo>
                <a:cubicBezTo>
                  <a:pt x="294" y="126"/>
                  <a:pt x="288" y="68"/>
                  <a:pt x="303" y="14"/>
                </a:cubicBezTo>
                <a:cubicBezTo>
                  <a:pt x="249" y="0"/>
                  <a:pt x="191" y="6"/>
                  <a:pt x="139" y="36"/>
                </a:cubicBezTo>
                <a:cubicBezTo>
                  <a:pt x="36" y="96"/>
                  <a:pt x="0" y="228"/>
                  <a:pt x="60" y="331"/>
                </a:cubicBezTo>
                <a:cubicBezTo>
                  <a:pt x="120" y="433"/>
                  <a:pt x="252" y="469"/>
                  <a:pt x="355" y="409"/>
                </a:cubicBezTo>
              </a:path>
            </a:pathLst>
          </a:custGeom>
          <a:solidFill>
            <a:schemeClr val="accent5">
              <a:alpha val="40000"/>
            </a:schemeClr>
          </a:solidFill>
          <a:ln>
            <a:noFill/>
          </a:ln>
          <a:effectLst/>
        </p:spPr>
        <p:txBody>
          <a:bodyPr wrap="none" anchor="ctr"/>
          <a:lstStyle/>
          <a:p>
            <a:endParaRPr/>
          </a:p>
        </p:txBody>
      </p:sp>
      <p:sp>
        <p:nvSpPr>
          <p:cNvPr id="12" name="Freeform 71">
            <a:extLst>
              <a:ext uri="{FF2B5EF4-FFF2-40B4-BE49-F238E27FC236}">
                <a16:creationId xmlns:a16="http://schemas.microsoft.com/office/drawing/2014/main" id="{E52E6DC7-3D71-4068-8E4B-4198314DFAEA}"/>
              </a:ext>
            </a:extLst>
          </p:cNvPr>
          <p:cNvSpPr>
            <a:spLocks noChangeArrowheads="1"/>
          </p:cNvSpPr>
          <p:nvPr/>
        </p:nvSpPr>
        <p:spPr bwMode="auto">
          <a:xfrm>
            <a:off x="9938039" y="1147698"/>
            <a:ext cx="1937932" cy="1843852"/>
          </a:xfrm>
          <a:custGeom>
            <a:avLst/>
            <a:gdLst>
              <a:gd name="T0" fmla="*/ 63 w 456"/>
              <a:gd name="T1" fmla="*/ 177 h 433"/>
              <a:gd name="T2" fmla="*/ 133 w 456"/>
              <a:gd name="T3" fmla="*/ 86 h 433"/>
              <a:gd name="T4" fmla="*/ 208 w 456"/>
              <a:gd name="T5" fmla="*/ 66 h 433"/>
              <a:gd name="T6" fmla="*/ 208 w 456"/>
              <a:gd name="T7" fmla="*/ 66 h 433"/>
              <a:gd name="T8" fmla="*/ 339 w 456"/>
              <a:gd name="T9" fmla="*/ 141 h 433"/>
              <a:gd name="T10" fmla="*/ 284 w 456"/>
              <a:gd name="T11" fmla="*/ 347 h 433"/>
              <a:gd name="T12" fmla="*/ 209 w 456"/>
              <a:gd name="T13" fmla="*/ 367 h 433"/>
              <a:gd name="T14" fmla="*/ 160 w 456"/>
              <a:gd name="T15" fmla="*/ 359 h 433"/>
              <a:gd name="T16" fmla="*/ 152 w 456"/>
              <a:gd name="T17" fmla="*/ 425 h 433"/>
              <a:gd name="T18" fmla="*/ 209 w 456"/>
              <a:gd name="T19" fmla="*/ 432 h 433"/>
              <a:gd name="T20" fmla="*/ 316 w 456"/>
              <a:gd name="T21" fmla="*/ 403 h 433"/>
              <a:gd name="T22" fmla="*/ 395 w 456"/>
              <a:gd name="T23" fmla="*/ 108 h 433"/>
              <a:gd name="T24" fmla="*/ 208 w 456"/>
              <a:gd name="T25" fmla="*/ 0 h 433"/>
              <a:gd name="T26" fmla="*/ 100 w 456"/>
              <a:gd name="T27" fmla="*/ 29 h 433"/>
              <a:gd name="T28" fmla="*/ 0 w 456"/>
              <a:gd name="T29" fmla="*/ 160 h 433"/>
              <a:gd name="T30" fmla="*/ 61 w 456"/>
              <a:gd name="T31" fmla="*/ 187 h 433"/>
              <a:gd name="T32" fmla="*/ 63 w 456"/>
              <a:gd name="T33" fmla="*/ 177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6" h="433">
                <a:moveTo>
                  <a:pt x="63" y="177"/>
                </a:moveTo>
                <a:cubicBezTo>
                  <a:pt x="73" y="139"/>
                  <a:pt x="98" y="106"/>
                  <a:pt x="133" y="86"/>
                </a:cubicBezTo>
                <a:cubicBezTo>
                  <a:pt x="156" y="73"/>
                  <a:pt x="182" y="66"/>
                  <a:pt x="208" y="66"/>
                </a:cubicBezTo>
                <a:lnTo>
                  <a:pt x="208" y="66"/>
                </a:lnTo>
                <a:cubicBezTo>
                  <a:pt x="262" y="66"/>
                  <a:pt x="312" y="95"/>
                  <a:pt x="339" y="141"/>
                </a:cubicBezTo>
                <a:cubicBezTo>
                  <a:pt x="380" y="213"/>
                  <a:pt x="356" y="305"/>
                  <a:pt x="284" y="347"/>
                </a:cubicBezTo>
                <a:cubicBezTo>
                  <a:pt x="261" y="360"/>
                  <a:pt x="235" y="367"/>
                  <a:pt x="209" y="367"/>
                </a:cubicBezTo>
                <a:cubicBezTo>
                  <a:pt x="192" y="367"/>
                  <a:pt x="175" y="364"/>
                  <a:pt x="160" y="359"/>
                </a:cubicBezTo>
                <a:cubicBezTo>
                  <a:pt x="161" y="381"/>
                  <a:pt x="158" y="403"/>
                  <a:pt x="152" y="425"/>
                </a:cubicBezTo>
                <a:cubicBezTo>
                  <a:pt x="171" y="430"/>
                  <a:pt x="190" y="432"/>
                  <a:pt x="209" y="432"/>
                </a:cubicBezTo>
                <a:cubicBezTo>
                  <a:pt x="245" y="432"/>
                  <a:pt x="282" y="423"/>
                  <a:pt x="316" y="403"/>
                </a:cubicBezTo>
                <a:cubicBezTo>
                  <a:pt x="420" y="344"/>
                  <a:pt x="455" y="212"/>
                  <a:pt x="395" y="108"/>
                </a:cubicBezTo>
                <a:cubicBezTo>
                  <a:pt x="355" y="39"/>
                  <a:pt x="283" y="0"/>
                  <a:pt x="208" y="0"/>
                </a:cubicBezTo>
                <a:cubicBezTo>
                  <a:pt x="172" y="0"/>
                  <a:pt x="134" y="10"/>
                  <a:pt x="100" y="29"/>
                </a:cubicBezTo>
                <a:cubicBezTo>
                  <a:pt x="49" y="59"/>
                  <a:pt x="14" y="107"/>
                  <a:pt x="0" y="160"/>
                </a:cubicBezTo>
                <a:cubicBezTo>
                  <a:pt x="21" y="166"/>
                  <a:pt x="42" y="175"/>
                  <a:pt x="61" y="187"/>
                </a:cubicBezTo>
                <a:cubicBezTo>
                  <a:pt x="61" y="184"/>
                  <a:pt x="62" y="181"/>
                  <a:pt x="63" y="177"/>
                </a:cubicBezTo>
              </a:path>
            </a:pathLst>
          </a:custGeom>
          <a:solidFill>
            <a:schemeClr val="accent5"/>
          </a:solidFill>
          <a:ln>
            <a:noFill/>
          </a:ln>
          <a:effectLst/>
        </p:spPr>
        <p:txBody>
          <a:bodyPr wrap="none" anchor="ctr"/>
          <a:lstStyle/>
          <a:p>
            <a:endParaRPr dirty="0"/>
          </a:p>
        </p:txBody>
      </p:sp>
      <p:sp>
        <p:nvSpPr>
          <p:cNvPr id="13" name="Freeform 72">
            <a:extLst>
              <a:ext uri="{FF2B5EF4-FFF2-40B4-BE49-F238E27FC236}">
                <a16:creationId xmlns:a16="http://schemas.microsoft.com/office/drawing/2014/main" id="{B6315EE1-5FAA-4D29-AA3E-9E77D9BD668B}"/>
              </a:ext>
            </a:extLst>
          </p:cNvPr>
          <p:cNvSpPr>
            <a:spLocks noChangeArrowheads="1"/>
          </p:cNvSpPr>
          <p:nvPr/>
        </p:nvSpPr>
        <p:spPr bwMode="auto">
          <a:xfrm>
            <a:off x="9877772" y="1825031"/>
            <a:ext cx="752593" cy="1128889"/>
          </a:xfrm>
          <a:custGeom>
            <a:avLst/>
            <a:gdLst>
              <a:gd name="T0" fmla="*/ 36 w 177"/>
              <a:gd name="T1" fmla="*/ 164 h 266"/>
              <a:gd name="T2" fmla="*/ 167 w 177"/>
              <a:gd name="T3" fmla="*/ 265 h 266"/>
              <a:gd name="T4" fmla="*/ 175 w 177"/>
              <a:gd name="T5" fmla="*/ 199 h 266"/>
              <a:gd name="T6" fmla="*/ 93 w 177"/>
              <a:gd name="T7" fmla="*/ 132 h 266"/>
              <a:gd name="T8" fmla="*/ 76 w 177"/>
              <a:gd name="T9" fmla="*/ 27 h 266"/>
              <a:gd name="T10" fmla="*/ 15 w 177"/>
              <a:gd name="T11" fmla="*/ 0 h 266"/>
              <a:gd name="T12" fmla="*/ 36 w 177"/>
              <a:gd name="T13" fmla="*/ 164 h 266"/>
            </a:gdLst>
            <a:ahLst/>
            <a:cxnLst>
              <a:cxn ang="0">
                <a:pos x="T0" y="T1"/>
              </a:cxn>
              <a:cxn ang="0">
                <a:pos x="T2" y="T3"/>
              </a:cxn>
              <a:cxn ang="0">
                <a:pos x="T4" y="T5"/>
              </a:cxn>
              <a:cxn ang="0">
                <a:pos x="T6" y="T7"/>
              </a:cxn>
              <a:cxn ang="0">
                <a:pos x="T8" y="T9"/>
              </a:cxn>
              <a:cxn ang="0">
                <a:pos x="T10" y="T11"/>
              </a:cxn>
              <a:cxn ang="0">
                <a:pos x="T12" y="T13"/>
              </a:cxn>
            </a:cxnLst>
            <a:rect l="0" t="0" r="r" b="b"/>
            <a:pathLst>
              <a:path w="177" h="266">
                <a:moveTo>
                  <a:pt x="36" y="164"/>
                </a:moveTo>
                <a:cubicBezTo>
                  <a:pt x="66" y="216"/>
                  <a:pt x="114" y="251"/>
                  <a:pt x="167" y="265"/>
                </a:cubicBezTo>
                <a:cubicBezTo>
                  <a:pt x="173" y="243"/>
                  <a:pt x="176" y="221"/>
                  <a:pt x="175" y="199"/>
                </a:cubicBezTo>
                <a:cubicBezTo>
                  <a:pt x="141" y="187"/>
                  <a:pt x="111" y="163"/>
                  <a:pt x="93" y="132"/>
                </a:cubicBezTo>
                <a:cubicBezTo>
                  <a:pt x="75" y="100"/>
                  <a:pt x="69" y="63"/>
                  <a:pt x="76" y="27"/>
                </a:cubicBezTo>
                <a:cubicBezTo>
                  <a:pt x="57" y="15"/>
                  <a:pt x="36" y="6"/>
                  <a:pt x="15" y="0"/>
                </a:cubicBezTo>
                <a:cubicBezTo>
                  <a:pt x="0" y="54"/>
                  <a:pt x="7" y="113"/>
                  <a:pt x="36" y="164"/>
                </a:cubicBezTo>
              </a:path>
            </a:pathLst>
          </a:custGeom>
          <a:solidFill>
            <a:srgbClr val="0099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a:p>
        </p:txBody>
      </p:sp>
      <p:sp>
        <p:nvSpPr>
          <p:cNvPr id="14" name="Freeform 73">
            <a:extLst>
              <a:ext uri="{FF2B5EF4-FFF2-40B4-BE49-F238E27FC236}">
                <a16:creationId xmlns:a16="http://schemas.microsoft.com/office/drawing/2014/main" id="{1EC5BEE1-0724-4108-9E09-B51210C489C0}"/>
              </a:ext>
            </a:extLst>
          </p:cNvPr>
          <p:cNvSpPr>
            <a:spLocks noChangeArrowheads="1"/>
          </p:cNvSpPr>
          <p:nvPr/>
        </p:nvSpPr>
        <p:spPr bwMode="auto">
          <a:xfrm>
            <a:off x="9877772" y="1825031"/>
            <a:ext cx="752593" cy="1128889"/>
          </a:xfrm>
          <a:custGeom>
            <a:avLst/>
            <a:gdLst>
              <a:gd name="T0" fmla="*/ 36 w 177"/>
              <a:gd name="T1" fmla="*/ 164 h 266"/>
              <a:gd name="T2" fmla="*/ 167 w 177"/>
              <a:gd name="T3" fmla="*/ 265 h 266"/>
              <a:gd name="T4" fmla="*/ 175 w 177"/>
              <a:gd name="T5" fmla="*/ 199 h 266"/>
              <a:gd name="T6" fmla="*/ 93 w 177"/>
              <a:gd name="T7" fmla="*/ 132 h 266"/>
              <a:gd name="T8" fmla="*/ 76 w 177"/>
              <a:gd name="T9" fmla="*/ 27 h 266"/>
              <a:gd name="T10" fmla="*/ 15 w 177"/>
              <a:gd name="T11" fmla="*/ 0 h 266"/>
              <a:gd name="T12" fmla="*/ 36 w 177"/>
              <a:gd name="T13" fmla="*/ 164 h 266"/>
            </a:gdLst>
            <a:ahLst/>
            <a:cxnLst>
              <a:cxn ang="0">
                <a:pos x="T0" y="T1"/>
              </a:cxn>
              <a:cxn ang="0">
                <a:pos x="T2" y="T3"/>
              </a:cxn>
              <a:cxn ang="0">
                <a:pos x="T4" y="T5"/>
              </a:cxn>
              <a:cxn ang="0">
                <a:pos x="T6" y="T7"/>
              </a:cxn>
              <a:cxn ang="0">
                <a:pos x="T8" y="T9"/>
              </a:cxn>
              <a:cxn ang="0">
                <a:pos x="T10" y="T11"/>
              </a:cxn>
              <a:cxn ang="0">
                <a:pos x="T12" y="T13"/>
              </a:cxn>
            </a:cxnLst>
            <a:rect l="0" t="0" r="r" b="b"/>
            <a:pathLst>
              <a:path w="177" h="266">
                <a:moveTo>
                  <a:pt x="36" y="164"/>
                </a:moveTo>
                <a:cubicBezTo>
                  <a:pt x="66" y="216"/>
                  <a:pt x="114" y="251"/>
                  <a:pt x="167" y="265"/>
                </a:cubicBezTo>
                <a:cubicBezTo>
                  <a:pt x="173" y="243"/>
                  <a:pt x="176" y="221"/>
                  <a:pt x="175" y="199"/>
                </a:cubicBezTo>
                <a:cubicBezTo>
                  <a:pt x="141" y="187"/>
                  <a:pt x="111" y="163"/>
                  <a:pt x="93" y="132"/>
                </a:cubicBezTo>
                <a:cubicBezTo>
                  <a:pt x="75" y="100"/>
                  <a:pt x="69" y="63"/>
                  <a:pt x="76" y="27"/>
                </a:cubicBezTo>
                <a:cubicBezTo>
                  <a:pt x="57" y="15"/>
                  <a:pt x="36" y="6"/>
                  <a:pt x="15" y="0"/>
                </a:cubicBezTo>
                <a:cubicBezTo>
                  <a:pt x="0" y="54"/>
                  <a:pt x="7" y="113"/>
                  <a:pt x="36" y="164"/>
                </a:cubicBezTo>
              </a:path>
            </a:pathLst>
          </a:custGeom>
          <a:solidFill>
            <a:schemeClr val="accent5"/>
          </a:solidFill>
          <a:ln>
            <a:noFill/>
          </a:ln>
          <a:effectLst/>
        </p:spPr>
        <p:txBody>
          <a:bodyPr wrap="none" anchor="ctr"/>
          <a:lstStyle/>
          <a:p>
            <a:endParaRPr/>
          </a:p>
        </p:txBody>
      </p:sp>
      <p:sp>
        <p:nvSpPr>
          <p:cNvPr id="15" name="Freeform 74">
            <a:extLst>
              <a:ext uri="{FF2B5EF4-FFF2-40B4-BE49-F238E27FC236}">
                <a16:creationId xmlns:a16="http://schemas.microsoft.com/office/drawing/2014/main" id="{0FFA210F-24E4-4D21-9E52-062CE00C17E8}"/>
              </a:ext>
            </a:extLst>
          </p:cNvPr>
          <p:cNvSpPr>
            <a:spLocks noChangeArrowheads="1"/>
          </p:cNvSpPr>
          <p:nvPr/>
        </p:nvSpPr>
        <p:spPr bwMode="auto">
          <a:xfrm>
            <a:off x="714963" y="4280365"/>
            <a:ext cx="5531556" cy="2577635"/>
          </a:xfrm>
          <a:custGeom>
            <a:avLst/>
            <a:gdLst>
              <a:gd name="T0" fmla="*/ 1237 w 1298"/>
              <a:gd name="T1" fmla="*/ 139 h 605"/>
              <a:gd name="T2" fmla="*/ 942 w 1298"/>
              <a:gd name="T3" fmla="*/ 60 h 605"/>
              <a:gd name="T4" fmla="*/ 0 w 1298"/>
              <a:gd name="T5" fmla="*/ 604 h 605"/>
              <a:gd name="T6" fmla="*/ 864 w 1298"/>
              <a:gd name="T7" fmla="*/ 604 h 605"/>
              <a:gd name="T8" fmla="*/ 1158 w 1298"/>
              <a:gd name="T9" fmla="*/ 434 h 605"/>
              <a:gd name="T10" fmla="*/ 1237 w 1298"/>
              <a:gd name="T11" fmla="*/ 139 h 605"/>
            </a:gdLst>
            <a:ahLst/>
            <a:cxnLst>
              <a:cxn ang="0">
                <a:pos x="T0" y="T1"/>
              </a:cxn>
              <a:cxn ang="0">
                <a:pos x="T2" y="T3"/>
              </a:cxn>
              <a:cxn ang="0">
                <a:pos x="T4" y="T5"/>
              </a:cxn>
              <a:cxn ang="0">
                <a:pos x="T6" y="T7"/>
              </a:cxn>
              <a:cxn ang="0">
                <a:pos x="T8" y="T9"/>
              </a:cxn>
              <a:cxn ang="0">
                <a:pos x="T10" y="T11"/>
              </a:cxn>
            </a:cxnLst>
            <a:rect l="0" t="0" r="r" b="b"/>
            <a:pathLst>
              <a:path w="1298" h="605">
                <a:moveTo>
                  <a:pt x="1237" y="139"/>
                </a:moveTo>
                <a:cubicBezTo>
                  <a:pt x="1177" y="36"/>
                  <a:pt x="1045" y="0"/>
                  <a:pt x="942" y="60"/>
                </a:cubicBezTo>
                <a:lnTo>
                  <a:pt x="0" y="604"/>
                </a:lnTo>
                <a:lnTo>
                  <a:pt x="864" y="604"/>
                </a:lnTo>
                <a:lnTo>
                  <a:pt x="1158" y="434"/>
                </a:lnTo>
                <a:cubicBezTo>
                  <a:pt x="1261" y="374"/>
                  <a:pt x="1297" y="242"/>
                  <a:pt x="1237" y="139"/>
                </a:cubicBezTo>
              </a:path>
            </a:pathLst>
          </a:custGeom>
          <a:solidFill>
            <a:schemeClr val="accent5"/>
          </a:solidFill>
          <a:ln>
            <a:noFill/>
          </a:ln>
          <a:effectLst/>
        </p:spPr>
        <p:txBody>
          <a:bodyPr wrap="none" anchor="ctr"/>
          <a:lstStyle/>
          <a:p>
            <a:endParaRPr dirty="0"/>
          </a:p>
        </p:txBody>
      </p:sp>
      <p:sp>
        <p:nvSpPr>
          <p:cNvPr id="16" name="Freeform 75">
            <a:extLst>
              <a:ext uri="{FF2B5EF4-FFF2-40B4-BE49-F238E27FC236}">
                <a16:creationId xmlns:a16="http://schemas.microsoft.com/office/drawing/2014/main" id="{3E1A5540-8089-4989-A345-C0649F6FACA8}"/>
              </a:ext>
            </a:extLst>
          </p:cNvPr>
          <p:cNvSpPr>
            <a:spLocks noChangeArrowheads="1"/>
          </p:cNvSpPr>
          <p:nvPr/>
        </p:nvSpPr>
        <p:spPr bwMode="auto">
          <a:xfrm>
            <a:off x="10065920" y="3236148"/>
            <a:ext cx="2126080" cy="2690512"/>
          </a:xfrm>
          <a:custGeom>
            <a:avLst/>
            <a:gdLst>
              <a:gd name="T0" fmla="*/ 15 w 499"/>
              <a:gd name="T1" fmla="*/ 352 h 632"/>
              <a:gd name="T2" fmla="*/ 36 w 499"/>
              <a:gd name="T3" fmla="*/ 516 h 632"/>
              <a:gd name="T4" fmla="*/ 167 w 499"/>
              <a:gd name="T5" fmla="*/ 617 h 632"/>
              <a:gd name="T6" fmla="*/ 331 w 499"/>
              <a:gd name="T7" fmla="*/ 595 h 632"/>
              <a:gd name="T8" fmla="*/ 498 w 499"/>
              <a:gd name="T9" fmla="*/ 499 h 632"/>
              <a:gd name="T10" fmla="*/ 498 w 499"/>
              <a:gd name="T11" fmla="*/ 0 h 632"/>
              <a:gd name="T12" fmla="*/ 115 w 499"/>
              <a:gd name="T13" fmla="*/ 221 h 632"/>
              <a:gd name="T14" fmla="*/ 15 w 499"/>
              <a:gd name="T15" fmla="*/ 352 h 6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9" h="632">
                <a:moveTo>
                  <a:pt x="15" y="352"/>
                </a:moveTo>
                <a:cubicBezTo>
                  <a:pt x="0" y="405"/>
                  <a:pt x="6" y="464"/>
                  <a:pt x="36" y="516"/>
                </a:cubicBezTo>
                <a:cubicBezTo>
                  <a:pt x="66" y="568"/>
                  <a:pt x="114" y="602"/>
                  <a:pt x="167" y="617"/>
                </a:cubicBezTo>
                <a:cubicBezTo>
                  <a:pt x="221" y="631"/>
                  <a:pt x="280" y="625"/>
                  <a:pt x="331" y="595"/>
                </a:cubicBezTo>
                <a:lnTo>
                  <a:pt x="498" y="499"/>
                </a:lnTo>
                <a:lnTo>
                  <a:pt x="498" y="0"/>
                </a:lnTo>
                <a:lnTo>
                  <a:pt x="115" y="221"/>
                </a:lnTo>
                <a:cubicBezTo>
                  <a:pt x="64" y="251"/>
                  <a:pt x="29" y="299"/>
                  <a:pt x="15" y="352"/>
                </a:cubicBezTo>
              </a:path>
            </a:pathLst>
          </a:custGeom>
          <a:solidFill>
            <a:schemeClr val="accent4"/>
          </a:solidFill>
          <a:ln>
            <a:noFill/>
          </a:ln>
          <a:effectLst/>
        </p:spPr>
        <p:txBody>
          <a:bodyPr wrap="none" anchor="ctr"/>
          <a:lstStyle/>
          <a:p>
            <a:endParaRPr dirty="0"/>
          </a:p>
        </p:txBody>
      </p:sp>
      <p:sp>
        <p:nvSpPr>
          <p:cNvPr id="17" name="Freeform 76">
            <a:extLst>
              <a:ext uri="{FF2B5EF4-FFF2-40B4-BE49-F238E27FC236}">
                <a16:creationId xmlns:a16="http://schemas.microsoft.com/office/drawing/2014/main" id="{8C16E441-DE46-4AD1-AC51-EA11737B68C6}"/>
              </a:ext>
            </a:extLst>
          </p:cNvPr>
          <p:cNvSpPr>
            <a:spLocks noChangeArrowheads="1"/>
          </p:cNvSpPr>
          <p:nvPr/>
        </p:nvSpPr>
        <p:spPr bwMode="auto">
          <a:xfrm>
            <a:off x="4477926" y="0"/>
            <a:ext cx="3988741" cy="1712142"/>
          </a:xfrm>
          <a:custGeom>
            <a:avLst/>
            <a:gdLst>
              <a:gd name="T0" fmla="*/ 50 w 934"/>
              <a:gd name="T1" fmla="*/ 260 h 400"/>
              <a:gd name="T2" fmla="*/ 345 w 934"/>
              <a:gd name="T3" fmla="*/ 339 h 400"/>
              <a:gd name="T4" fmla="*/ 933 w 934"/>
              <a:gd name="T5" fmla="*/ 0 h 400"/>
              <a:gd name="T6" fmla="*/ 84 w 934"/>
              <a:gd name="T7" fmla="*/ 0 h 400"/>
              <a:gd name="T8" fmla="*/ 50 w 934"/>
              <a:gd name="T9" fmla="*/ 260 h 400"/>
            </a:gdLst>
            <a:ahLst/>
            <a:cxnLst>
              <a:cxn ang="0">
                <a:pos x="T0" y="T1"/>
              </a:cxn>
              <a:cxn ang="0">
                <a:pos x="T2" y="T3"/>
              </a:cxn>
              <a:cxn ang="0">
                <a:pos x="T4" y="T5"/>
              </a:cxn>
              <a:cxn ang="0">
                <a:pos x="T6" y="T7"/>
              </a:cxn>
              <a:cxn ang="0">
                <a:pos x="T8" y="T9"/>
              </a:cxn>
            </a:cxnLst>
            <a:rect l="0" t="0" r="r" b="b"/>
            <a:pathLst>
              <a:path w="934" h="400">
                <a:moveTo>
                  <a:pt x="50" y="260"/>
                </a:moveTo>
                <a:cubicBezTo>
                  <a:pt x="110" y="363"/>
                  <a:pt x="242" y="399"/>
                  <a:pt x="345" y="339"/>
                </a:cubicBezTo>
                <a:lnTo>
                  <a:pt x="933" y="0"/>
                </a:lnTo>
                <a:lnTo>
                  <a:pt x="84" y="0"/>
                </a:lnTo>
                <a:cubicBezTo>
                  <a:pt x="17" y="67"/>
                  <a:pt x="0" y="174"/>
                  <a:pt x="50" y="260"/>
                </a:cubicBezTo>
              </a:path>
            </a:pathLst>
          </a:custGeom>
          <a:solidFill>
            <a:schemeClr val="accent1"/>
          </a:solidFill>
          <a:ln>
            <a:noFill/>
          </a:ln>
          <a:effectLst/>
        </p:spPr>
        <p:txBody>
          <a:bodyPr wrap="none" anchor="ctr"/>
          <a:lstStyle/>
          <a:p>
            <a:endParaRPr dirty="0"/>
          </a:p>
        </p:txBody>
      </p:sp>
      <p:sp>
        <p:nvSpPr>
          <p:cNvPr id="2" name="Title 1">
            <a:extLst>
              <a:ext uri="{FF2B5EF4-FFF2-40B4-BE49-F238E27FC236}">
                <a16:creationId xmlns:a16="http://schemas.microsoft.com/office/drawing/2014/main" id="{EC9DBBEB-CFD6-4E01-A45F-4CB0419CF96A}"/>
              </a:ext>
            </a:extLst>
          </p:cNvPr>
          <p:cNvSpPr>
            <a:spLocks noGrp="1"/>
          </p:cNvSpPr>
          <p:nvPr userDrawn="1">
            <p:ph type="title"/>
          </p:nvPr>
        </p:nvSpPr>
        <p:spPr>
          <a:xfrm>
            <a:off x="1343025" y="2083034"/>
            <a:ext cx="7200900" cy="1612666"/>
          </a:xfrm>
        </p:spPr>
        <p:txBody>
          <a:bodyPr vert="horz" lIns="0" tIns="0" rIns="0" bIns="0" rtlCol="0" anchor="t" anchorCtr="0">
            <a:normAutofit/>
          </a:bodyPr>
          <a:lstStyle>
            <a:lvl1pPr marL="0" indent="0">
              <a:buFont typeface="Arial" panose="020B0604020202020204" pitchFamily="34" charset="0"/>
              <a:buNone/>
              <a:defRPr lang="en-GB" sz="5400" dirty="0"/>
            </a:lvl1pPr>
          </a:lstStyle>
          <a:p>
            <a:pPr lvl="0"/>
            <a:r>
              <a:rPr lang="en-US" dirty="0"/>
              <a:t>Click to edit Master title style</a:t>
            </a:r>
            <a:endParaRPr lang="en-GB" dirty="0"/>
          </a:p>
        </p:txBody>
      </p:sp>
      <p:sp>
        <p:nvSpPr>
          <p:cNvPr id="3" name="Text Placeholder 2">
            <a:extLst>
              <a:ext uri="{FF2B5EF4-FFF2-40B4-BE49-F238E27FC236}">
                <a16:creationId xmlns:a16="http://schemas.microsoft.com/office/drawing/2014/main" id="{278E103B-4121-4BCA-89E5-49B0F4DAAC9B}"/>
              </a:ext>
            </a:extLst>
          </p:cNvPr>
          <p:cNvSpPr>
            <a:spLocks noGrp="1"/>
          </p:cNvSpPr>
          <p:nvPr userDrawn="1">
            <p:ph type="body" idx="1"/>
          </p:nvPr>
        </p:nvSpPr>
        <p:spPr>
          <a:xfrm>
            <a:off x="1343025" y="3066707"/>
            <a:ext cx="7200900" cy="1154381"/>
          </a:xfrm>
        </p:spPr>
        <p:txBody>
          <a:bodyPr vert="horz" lIns="0" tIns="0" rIns="0" bIns="0" rtlCol="0" anchor="t" anchorCtr="0">
            <a:normAutofit/>
          </a:bodyPr>
          <a:lstStyle>
            <a:lvl1pPr marL="0" indent="0">
              <a:spcBef>
                <a:spcPts val="0"/>
              </a:spcBef>
              <a:buNone/>
              <a:defRPr lang="en-US" sz="2800" smtClean="0">
                <a:solidFill>
                  <a:schemeClr val="accent2"/>
                </a:solidFill>
              </a:defRPr>
            </a:lvl1pPr>
          </a:lstStyle>
          <a:p>
            <a:pPr marL="228600" lvl="0" indent="-228600">
              <a:spcAft>
                <a:spcPts val="0"/>
              </a:spcAft>
            </a:pPr>
            <a:r>
              <a:rPr lang="en-US" dirty="0"/>
              <a:t>Click to edit Master text styles</a:t>
            </a:r>
          </a:p>
        </p:txBody>
      </p:sp>
      <p:sp>
        <p:nvSpPr>
          <p:cNvPr id="20" name="Rechthoek 2">
            <a:extLst>
              <a:ext uri="{FF2B5EF4-FFF2-40B4-BE49-F238E27FC236}">
                <a16:creationId xmlns:a16="http://schemas.microsoft.com/office/drawing/2014/main" id="{056ECAAF-0DA0-D748-809F-FA20949EAFD0}"/>
              </a:ext>
            </a:extLst>
          </p:cNvPr>
          <p:cNvSpPr/>
          <p:nvPr userDrawn="1"/>
        </p:nvSpPr>
        <p:spPr>
          <a:xfrm>
            <a:off x="10002839" y="143250"/>
            <a:ext cx="1633781"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accent4"/>
                </a:solidFill>
                <a:effectLst/>
                <a:uLnTx/>
                <a:uFillTx/>
                <a:latin typeface="+mn-lt"/>
                <a:ea typeface="+mn-ea"/>
                <a:cs typeface="+mn-cs"/>
              </a:rPr>
              <a:t>Colt confidential</a:t>
            </a:r>
          </a:p>
        </p:txBody>
      </p:sp>
    </p:spTree>
    <p:extLst>
      <p:ext uri="{BB962C8B-B14F-4D97-AF65-F5344CB8AC3E}">
        <p14:creationId xmlns:p14="http://schemas.microsoft.com/office/powerpoint/2010/main" val="3096332132"/>
      </p:ext>
    </p:extLst>
  </p:cSld>
  <p:clrMapOvr>
    <a:masterClrMapping/>
  </p:clrMapOvr>
  <p:extLst>
    <p:ext uri="{DCECCB84-F9BA-43D5-87BE-67443E8EF086}">
      <p15:sldGuideLst xmlns:p15="http://schemas.microsoft.com/office/powerpoint/2012/main">
        <p15:guide id="1" pos="846">
          <p15:clr>
            <a:srgbClr val="FBAE40"/>
          </p15:clr>
        </p15:guide>
        <p15:guide id="2" pos="5382">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all-out + image v1a">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3C38C040-C7F5-455F-9FDF-D67805C679F1}"/>
              </a:ext>
            </a:extLst>
          </p:cNvPr>
          <p:cNvSpPr>
            <a:spLocks noGrp="1"/>
          </p:cNvSpPr>
          <p:nvPr>
            <p:ph type="pic" sz="quarter" idx="11"/>
          </p:nvPr>
        </p:nvSpPr>
        <p:spPr>
          <a:xfrm>
            <a:off x="4693414" y="-2414"/>
            <a:ext cx="7498586" cy="6415974"/>
          </a:xfrm>
          <a:custGeom>
            <a:avLst/>
            <a:gdLst>
              <a:gd name="connsiteX0" fmla="*/ 0 w 7510462"/>
              <a:gd name="connsiteY0" fmla="*/ 3206750 h 6413500"/>
              <a:gd name="connsiteX1" fmla="*/ 3755231 w 7510462"/>
              <a:gd name="connsiteY1" fmla="*/ 0 h 6413500"/>
              <a:gd name="connsiteX2" fmla="*/ 7510462 w 7510462"/>
              <a:gd name="connsiteY2" fmla="*/ 0 h 6413500"/>
              <a:gd name="connsiteX3" fmla="*/ 7510462 w 7510462"/>
              <a:gd name="connsiteY3" fmla="*/ 3206750 h 6413500"/>
              <a:gd name="connsiteX4" fmla="*/ 3755231 w 7510462"/>
              <a:gd name="connsiteY4" fmla="*/ 6413500 h 6413500"/>
              <a:gd name="connsiteX5" fmla="*/ 0 w 7510462"/>
              <a:gd name="connsiteY5" fmla="*/ 3206750 h 6413500"/>
              <a:gd name="connsiteX0" fmla="*/ 2908 w 7513370"/>
              <a:gd name="connsiteY0" fmla="*/ 3206750 h 6401625"/>
              <a:gd name="connsiteX1" fmla="*/ 3758139 w 7513370"/>
              <a:gd name="connsiteY1" fmla="*/ 0 h 6401625"/>
              <a:gd name="connsiteX2" fmla="*/ 7513370 w 7513370"/>
              <a:gd name="connsiteY2" fmla="*/ 0 h 6401625"/>
              <a:gd name="connsiteX3" fmla="*/ 7513370 w 7513370"/>
              <a:gd name="connsiteY3" fmla="*/ 3206750 h 6401625"/>
              <a:gd name="connsiteX4" fmla="*/ 3318752 w 7513370"/>
              <a:gd name="connsiteY4" fmla="*/ 6401625 h 6401625"/>
              <a:gd name="connsiteX5" fmla="*/ 2908 w 7513370"/>
              <a:gd name="connsiteY5" fmla="*/ 3206750 h 6401625"/>
              <a:gd name="connsiteX0" fmla="*/ 1834 w 7512296"/>
              <a:gd name="connsiteY0" fmla="*/ 3206750 h 6465504"/>
              <a:gd name="connsiteX1" fmla="*/ 3757065 w 7512296"/>
              <a:gd name="connsiteY1" fmla="*/ 0 h 6465504"/>
              <a:gd name="connsiteX2" fmla="*/ 7512296 w 7512296"/>
              <a:gd name="connsiteY2" fmla="*/ 0 h 6465504"/>
              <a:gd name="connsiteX3" fmla="*/ 7512296 w 7512296"/>
              <a:gd name="connsiteY3" fmla="*/ 4548662 h 6465504"/>
              <a:gd name="connsiteX4" fmla="*/ 3317678 w 7512296"/>
              <a:gd name="connsiteY4" fmla="*/ 6401625 h 6465504"/>
              <a:gd name="connsiteX5" fmla="*/ 1834 w 7512296"/>
              <a:gd name="connsiteY5" fmla="*/ 3206750 h 6465504"/>
              <a:gd name="connsiteX0" fmla="*/ 1834 w 7512296"/>
              <a:gd name="connsiteY0" fmla="*/ 3206750 h 6433966"/>
              <a:gd name="connsiteX1" fmla="*/ 3757065 w 7512296"/>
              <a:gd name="connsiteY1" fmla="*/ 0 h 6433966"/>
              <a:gd name="connsiteX2" fmla="*/ 7512296 w 7512296"/>
              <a:gd name="connsiteY2" fmla="*/ 0 h 6433966"/>
              <a:gd name="connsiteX3" fmla="*/ 7512296 w 7512296"/>
              <a:gd name="connsiteY3" fmla="*/ 4548662 h 6433966"/>
              <a:gd name="connsiteX4" fmla="*/ 3317678 w 7512296"/>
              <a:gd name="connsiteY4" fmla="*/ 6401625 h 6433966"/>
              <a:gd name="connsiteX5" fmla="*/ 1834 w 7512296"/>
              <a:gd name="connsiteY5" fmla="*/ 3206750 h 6433966"/>
              <a:gd name="connsiteX0" fmla="*/ 1926 w 7512388"/>
              <a:gd name="connsiteY0" fmla="*/ 3206750 h 6401626"/>
              <a:gd name="connsiteX1" fmla="*/ 3757157 w 7512388"/>
              <a:gd name="connsiteY1" fmla="*/ 0 h 6401626"/>
              <a:gd name="connsiteX2" fmla="*/ 7512388 w 7512388"/>
              <a:gd name="connsiteY2" fmla="*/ 0 h 6401626"/>
              <a:gd name="connsiteX3" fmla="*/ 7512388 w 7512388"/>
              <a:gd name="connsiteY3" fmla="*/ 4548662 h 6401626"/>
              <a:gd name="connsiteX4" fmla="*/ 3317770 w 7512388"/>
              <a:gd name="connsiteY4" fmla="*/ 6401625 h 6401626"/>
              <a:gd name="connsiteX5" fmla="*/ 1926 w 7512388"/>
              <a:gd name="connsiteY5" fmla="*/ 3206750 h 6401626"/>
              <a:gd name="connsiteX0" fmla="*/ 2666 w 7513128"/>
              <a:gd name="connsiteY0" fmla="*/ 3206750 h 6425377"/>
              <a:gd name="connsiteX1" fmla="*/ 3757897 w 7513128"/>
              <a:gd name="connsiteY1" fmla="*/ 0 h 6425377"/>
              <a:gd name="connsiteX2" fmla="*/ 7513128 w 7513128"/>
              <a:gd name="connsiteY2" fmla="*/ 0 h 6425377"/>
              <a:gd name="connsiteX3" fmla="*/ 7513128 w 7513128"/>
              <a:gd name="connsiteY3" fmla="*/ 4548662 h 6425377"/>
              <a:gd name="connsiteX4" fmla="*/ 3247258 w 7513128"/>
              <a:gd name="connsiteY4" fmla="*/ 6425376 h 6425377"/>
              <a:gd name="connsiteX5" fmla="*/ 2666 w 7513128"/>
              <a:gd name="connsiteY5" fmla="*/ 3206750 h 6425377"/>
              <a:gd name="connsiteX0" fmla="*/ 2881 w 7513343"/>
              <a:gd name="connsiteY0" fmla="*/ 3206750 h 6425377"/>
              <a:gd name="connsiteX1" fmla="*/ 3758112 w 7513343"/>
              <a:gd name="connsiteY1" fmla="*/ 0 h 6425377"/>
              <a:gd name="connsiteX2" fmla="*/ 7513343 w 7513343"/>
              <a:gd name="connsiteY2" fmla="*/ 0 h 6425377"/>
              <a:gd name="connsiteX3" fmla="*/ 7513343 w 7513343"/>
              <a:gd name="connsiteY3" fmla="*/ 4548662 h 6425377"/>
              <a:gd name="connsiteX4" fmla="*/ 3247473 w 7513343"/>
              <a:gd name="connsiteY4" fmla="*/ 6425376 h 6425377"/>
              <a:gd name="connsiteX5" fmla="*/ 2881 w 7513343"/>
              <a:gd name="connsiteY5" fmla="*/ 3206750 h 6425377"/>
              <a:gd name="connsiteX0" fmla="*/ 2847 w 7513309"/>
              <a:gd name="connsiteY0" fmla="*/ 3206750 h 6425377"/>
              <a:gd name="connsiteX1" fmla="*/ 3758078 w 7513309"/>
              <a:gd name="connsiteY1" fmla="*/ 0 h 6425377"/>
              <a:gd name="connsiteX2" fmla="*/ 7513309 w 7513309"/>
              <a:gd name="connsiteY2" fmla="*/ 0 h 6425377"/>
              <a:gd name="connsiteX3" fmla="*/ 7513309 w 7513309"/>
              <a:gd name="connsiteY3" fmla="*/ 4548662 h 6425377"/>
              <a:gd name="connsiteX4" fmla="*/ 3247439 w 7513309"/>
              <a:gd name="connsiteY4" fmla="*/ 6425376 h 6425377"/>
              <a:gd name="connsiteX5" fmla="*/ 2847 w 7513309"/>
              <a:gd name="connsiteY5" fmla="*/ 3206750 h 6425377"/>
              <a:gd name="connsiteX0" fmla="*/ 2936 w 7513398"/>
              <a:gd name="connsiteY0" fmla="*/ 3206750 h 6425377"/>
              <a:gd name="connsiteX1" fmla="*/ 3758167 w 7513398"/>
              <a:gd name="connsiteY1" fmla="*/ 0 h 6425377"/>
              <a:gd name="connsiteX2" fmla="*/ 7513398 w 7513398"/>
              <a:gd name="connsiteY2" fmla="*/ 0 h 6425377"/>
              <a:gd name="connsiteX3" fmla="*/ 7513398 w 7513398"/>
              <a:gd name="connsiteY3" fmla="*/ 4548662 h 6425377"/>
              <a:gd name="connsiteX4" fmla="*/ 3247528 w 7513398"/>
              <a:gd name="connsiteY4" fmla="*/ 6425376 h 6425377"/>
              <a:gd name="connsiteX5" fmla="*/ 2936 w 7513398"/>
              <a:gd name="connsiteY5" fmla="*/ 3206750 h 6425377"/>
              <a:gd name="connsiteX0" fmla="*/ 113356 w 7623818"/>
              <a:gd name="connsiteY0" fmla="*/ 3206750 h 6425377"/>
              <a:gd name="connsiteX1" fmla="*/ 1909159 w 7623818"/>
              <a:gd name="connsiteY1" fmla="*/ 11876 h 6425377"/>
              <a:gd name="connsiteX2" fmla="*/ 7623818 w 7623818"/>
              <a:gd name="connsiteY2" fmla="*/ 0 h 6425377"/>
              <a:gd name="connsiteX3" fmla="*/ 7623818 w 7623818"/>
              <a:gd name="connsiteY3" fmla="*/ 4548662 h 6425377"/>
              <a:gd name="connsiteX4" fmla="*/ 3357948 w 7623818"/>
              <a:gd name="connsiteY4" fmla="*/ 6425376 h 6425377"/>
              <a:gd name="connsiteX5" fmla="*/ 113356 w 7623818"/>
              <a:gd name="connsiteY5" fmla="*/ 3206750 h 6425377"/>
              <a:gd name="connsiteX0" fmla="*/ 48773 w 7559235"/>
              <a:gd name="connsiteY0" fmla="*/ 3206750 h 6425377"/>
              <a:gd name="connsiteX1" fmla="*/ 1844576 w 7559235"/>
              <a:gd name="connsiteY1" fmla="*/ 11876 h 6425377"/>
              <a:gd name="connsiteX2" fmla="*/ 7559235 w 7559235"/>
              <a:gd name="connsiteY2" fmla="*/ 0 h 6425377"/>
              <a:gd name="connsiteX3" fmla="*/ 7559235 w 7559235"/>
              <a:gd name="connsiteY3" fmla="*/ 4548662 h 6425377"/>
              <a:gd name="connsiteX4" fmla="*/ 3293365 w 7559235"/>
              <a:gd name="connsiteY4" fmla="*/ 6425376 h 6425377"/>
              <a:gd name="connsiteX5" fmla="*/ 48773 w 7559235"/>
              <a:gd name="connsiteY5" fmla="*/ 3206750 h 6425377"/>
              <a:gd name="connsiteX0" fmla="*/ 28 w 7510490"/>
              <a:gd name="connsiteY0" fmla="*/ 3206750 h 6425377"/>
              <a:gd name="connsiteX1" fmla="*/ 1795831 w 7510490"/>
              <a:gd name="connsiteY1" fmla="*/ 11876 h 6425377"/>
              <a:gd name="connsiteX2" fmla="*/ 7510490 w 7510490"/>
              <a:gd name="connsiteY2" fmla="*/ 0 h 6425377"/>
              <a:gd name="connsiteX3" fmla="*/ 7510490 w 7510490"/>
              <a:gd name="connsiteY3" fmla="*/ 4548662 h 6425377"/>
              <a:gd name="connsiteX4" fmla="*/ 3244620 w 7510490"/>
              <a:gd name="connsiteY4" fmla="*/ 6425376 h 6425377"/>
              <a:gd name="connsiteX5" fmla="*/ 28 w 7510490"/>
              <a:gd name="connsiteY5" fmla="*/ 3206750 h 6425377"/>
              <a:gd name="connsiteX0" fmla="*/ 169 w 7510631"/>
              <a:gd name="connsiteY0" fmla="*/ 3206750 h 6425377"/>
              <a:gd name="connsiteX1" fmla="*/ 1795972 w 7510631"/>
              <a:gd name="connsiteY1" fmla="*/ 11876 h 6425377"/>
              <a:gd name="connsiteX2" fmla="*/ 7510631 w 7510631"/>
              <a:gd name="connsiteY2" fmla="*/ 0 h 6425377"/>
              <a:gd name="connsiteX3" fmla="*/ 7510631 w 7510631"/>
              <a:gd name="connsiteY3" fmla="*/ 4548662 h 6425377"/>
              <a:gd name="connsiteX4" fmla="*/ 3244761 w 7510631"/>
              <a:gd name="connsiteY4" fmla="*/ 6425376 h 6425377"/>
              <a:gd name="connsiteX5" fmla="*/ 169 w 7510631"/>
              <a:gd name="connsiteY5" fmla="*/ 3206750 h 6425377"/>
              <a:gd name="connsiteX0" fmla="*/ 28 w 7510490"/>
              <a:gd name="connsiteY0" fmla="*/ 3206750 h 6425377"/>
              <a:gd name="connsiteX1" fmla="*/ 1795831 w 7510490"/>
              <a:gd name="connsiteY1" fmla="*/ 11876 h 6425377"/>
              <a:gd name="connsiteX2" fmla="*/ 7510490 w 7510490"/>
              <a:gd name="connsiteY2" fmla="*/ 0 h 6425377"/>
              <a:gd name="connsiteX3" fmla="*/ 7510490 w 7510490"/>
              <a:gd name="connsiteY3" fmla="*/ 4548662 h 6425377"/>
              <a:gd name="connsiteX4" fmla="*/ 3244620 w 7510490"/>
              <a:gd name="connsiteY4" fmla="*/ 6425376 h 6425377"/>
              <a:gd name="connsiteX5" fmla="*/ 28 w 7510490"/>
              <a:gd name="connsiteY5" fmla="*/ 3206750 h 6425377"/>
              <a:gd name="connsiteX0" fmla="*/ 33 w 7510495"/>
              <a:gd name="connsiteY0" fmla="*/ 3206750 h 6425632"/>
              <a:gd name="connsiteX1" fmla="*/ 1795836 w 7510495"/>
              <a:gd name="connsiteY1" fmla="*/ 11876 h 6425632"/>
              <a:gd name="connsiteX2" fmla="*/ 7510495 w 7510495"/>
              <a:gd name="connsiteY2" fmla="*/ 0 h 6425632"/>
              <a:gd name="connsiteX3" fmla="*/ 7510495 w 7510495"/>
              <a:gd name="connsiteY3" fmla="*/ 4548662 h 6425632"/>
              <a:gd name="connsiteX4" fmla="*/ 3244625 w 7510495"/>
              <a:gd name="connsiteY4" fmla="*/ 6425376 h 6425632"/>
              <a:gd name="connsiteX5" fmla="*/ 33 w 7510495"/>
              <a:gd name="connsiteY5" fmla="*/ 3206750 h 6425632"/>
              <a:gd name="connsiteX0" fmla="*/ 32 w 7510494"/>
              <a:gd name="connsiteY0" fmla="*/ 3206750 h 6427368"/>
              <a:gd name="connsiteX1" fmla="*/ 1795835 w 7510494"/>
              <a:gd name="connsiteY1" fmla="*/ 11876 h 6427368"/>
              <a:gd name="connsiteX2" fmla="*/ 7510494 w 7510494"/>
              <a:gd name="connsiteY2" fmla="*/ 0 h 6427368"/>
              <a:gd name="connsiteX3" fmla="*/ 7510494 w 7510494"/>
              <a:gd name="connsiteY3" fmla="*/ 4548662 h 6427368"/>
              <a:gd name="connsiteX4" fmla="*/ 3244624 w 7510494"/>
              <a:gd name="connsiteY4" fmla="*/ 6425376 h 6427368"/>
              <a:gd name="connsiteX5" fmla="*/ 32 w 7510494"/>
              <a:gd name="connsiteY5" fmla="*/ 3206750 h 6427368"/>
              <a:gd name="connsiteX0" fmla="*/ 47590 w 7558052"/>
              <a:gd name="connsiteY0" fmla="*/ 3218624 h 6439018"/>
              <a:gd name="connsiteX1" fmla="*/ 1855268 w 7558052"/>
              <a:gd name="connsiteY1" fmla="*/ 0 h 6439018"/>
              <a:gd name="connsiteX2" fmla="*/ 7558052 w 7558052"/>
              <a:gd name="connsiteY2" fmla="*/ 11874 h 6439018"/>
              <a:gd name="connsiteX3" fmla="*/ 7558052 w 7558052"/>
              <a:gd name="connsiteY3" fmla="*/ 4560536 h 6439018"/>
              <a:gd name="connsiteX4" fmla="*/ 3292182 w 7558052"/>
              <a:gd name="connsiteY4" fmla="*/ 6437250 h 6439018"/>
              <a:gd name="connsiteX5" fmla="*/ 47590 w 7558052"/>
              <a:gd name="connsiteY5" fmla="*/ 3218624 h 6439018"/>
              <a:gd name="connsiteX0" fmla="*/ 45228 w 7555690"/>
              <a:gd name="connsiteY0" fmla="*/ 3218624 h 6439018"/>
              <a:gd name="connsiteX1" fmla="*/ 1852906 w 7555690"/>
              <a:gd name="connsiteY1" fmla="*/ 0 h 6439018"/>
              <a:gd name="connsiteX2" fmla="*/ 7555690 w 7555690"/>
              <a:gd name="connsiteY2" fmla="*/ 11874 h 6439018"/>
              <a:gd name="connsiteX3" fmla="*/ 7555690 w 7555690"/>
              <a:gd name="connsiteY3" fmla="*/ 4560536 h 6439018"/>
              <a:gd name="connsiteX4" fmla="*/ 3242319 w 7555690"/>
              <a:gd name="connsiteY4" fmla="*/ 6437250 h 6439018"/>
              <a:gd name="connsiteX5" fmla="*/ 45228 w 7555690"/>
              <a:gd name="connsiteY5" fmla="*/ 3218624 h 6439018"/>
              <a:gd name="connsiteX0" fmla="*/ 45228 w 7555690"/>
              <a:gd name="connsiteY0" fmla="*/ 3218624 h 6437316"/>
              <a:gd name="connsiteX1" fmla="*/ 1852906 w 7555690"/>
              <a:gd name="connsiteY1" fmla="*/ 0 h 6437316"/>
              <a:gd name="connsiteX2" fmla="*/ 7555690 w 7555690"/>
              <a:gd name="connsiteY2" fmla="*/ 11874 h 6437316"/>
              <a:gd name="connsiteX3" fmla="*/ 7555690 w 7555690"/>
              <a:gd name="connsiteY3" fmla="*/ 4560536 h 6437316"/>
              <a:gd name="connsiteX4" fmla="*/ 3242319 w 7555690"/>
              <a:gd name="connsiteY4" fmla="*/ 6437250 h 6437316"/>
              <a:gd name="connsiteX5" fmla="*/ 45228 w 7555690"/>
              <a:gd name="connsiteY5" fmla="*/ 3218624 h 6437316"/>
              <a:gd name="connsiteX0" fmla="*/ 44643 w 7555105"/>
              <a:gd name="connsiteY0" fmla="*/ 3218624 h 6437316"/>
              <a:gd name="connsiteX1" fmla="*/ 1852321 w 7555105"/>
              <a:gd name="connsiteY1" fmla="*/ 0 h 6437316"/>
              <a:gd name="connsiteX2" fmla="*/ 7555105 w 7555105"/>
              <a:gd name="connsiteY2" fmla="*/ 11874 h 6437316"/>
              <a:gd name="connsiteX3" fmla="*/ 7555105 w 7555105"/>
              <a:gd name="connsiteY3" fmla="*/ 4560536 h 6437316"/>
              <a:gd name="connsiteX4" fmla="*/ 3229859 w 7555105"/>
              <a:gd name="connsiteY4" fmla="*/ 6437250 h 6437316"/>
              <a:gd name="connsiteX5" fmla="*/ 44643 w 7555105"/>
              <a:gd name="connsiteY5" fmla="*/ 3218624 h 6437316"/>
              <a:gd name="connsiteX0" fmla="*/ 45201 w 7543787"/>
              <a:gd name="connsiteY0" fmla="*/ 3230499 h 6468500"/>
              <a:gd name="connsiteX1" fmla="*/ 1841003 w 7543787"/>
              <a:gd name="connsiteY1" fmla="*/ 0 h 6468500"/>
              <a:gd name="connsiteX2" fmla="*/ 7543787 w 7543787"/>
              <a:gd name="connsiteY2" fmla="*/ 11874 h 6468500"/>
              <a:gd name="connsiteX3" fmla="*/ 7543787 w 7543787"/>
              <a:gd name="connsiteY3" fmla="*/ 4560536 h 6468500"/>
              <a:gd name="connsiteX4" fmla="*/ 3218541 w 7543787"/>
              <a:gd name="connsiteY4" fmla="*/ 6437250 h 6468500"/>
              <a:gd name="connsiteX5" fmla="*/ 45201 w 7543787"/>
              <a:gd name="connsiteY5" fmla="*/ 3230499 h 6468500"/>
              <a:gd name="connsiteX0" fmla="*/ 1195 w 7499781"/>
              <a:gd name="connsiteY0" fmla="*/ 3230499 h 6468500"/>
              <a:gd name="connsiteX1" fmla="*/ 1796997 w 7499781"/>
              <a:gd name="connsiteY1" fmla="*/ 0 h 6468500"/>
              <a:gd name="connsiteX2" fmla="*/ 7499781 w 7499781"/>
              <a:gd name="connsiteY2" fmla="*/ 11874 h 6468500"/>
              <a:gd name="connsiteX3" fmla="*/ 7499781 w 7499781"/>
              <a:gd name="connsiteY3" fmla="*/ 4560536 h 6468500"/>
              <a:gd name="connsiteX4" fmla="*/ 3174535 w 7499781"/>
              <a:gd name="connsiteY4" fmla="*/ 6437250 h 6468500"/>
              <a:gd name="connsiteX5" fmla="*/ 1195 w 7499781"/>
              <a:gd name="connsiteY5" fmla="*/ 3230499 h 6468500"/>
              <a:gd name="connsiteX0" fmla="*/ 28 w 7498614"/>
              <a:gd name="connsiteY0" fmla="*/ 3230499 h 6468500"/>
              <a:gd name="connsiteX1" fmla="*/ 1795830 w 7498614"/>
              <a:gd name="connsiteY1" fmla="*/ 0 h 6468500"/>
              <a:gd name="connsiteX2" fmla="*/ 7498614 w 7498614"/>
              <a:gd name="connsiteY2" fmla="*/ 11874 h 6468500"/>
              <a:gd name="connsiteX3" fmla="*/ 7498614 w 7498614"/>
              <a:gd name="connsiteY3" fmla="*/ 4560536 h 6468500"/>
              <a:gd name="connsiteX4" fmla="*/ 3173368 w 7498614"/>
              <a:gd name="connsiteY4" fmla="*/ 6437250 h 6468500"/>
              <a:gd name="connsiteX5" fmla="*/ 28 w 7498614"/>
              <a:gd name="connsiteY5" fmla="*/ 3230499 h 6468500"/>
              <a:gd name="connsiteX0" fmla="*/ 28 w 7498614"/>
              <a:gd name="connsiteY0" fmla="*/ 3230499 h 6468500"/>
              <a:gd name="connsiteX1" fmla="*/ 1795830 w 7498614"/>
              <a:gd name="connsiteY1" fmla="*/ 0 h 6468500"/>
              <a:gd name="connsiteX2" fmla="*/ 7498614 w 7498614"/>
              <a:gd name="connsiteY2" fmla="*/ 11874 h 6468500"/>
              <a:gd name="connsiteX3" fmla="*/ 7498614 w 7498614"/>
              <a:gd name="connsiteY3" fmla="*/ 4560536 h 6468500"/>
              <a:gd name="connsiteX4" fmla="*/ 3173368 w 7498614"/>
              <a:gd name="connsiteY4" fmla="*/ 6437250 h 6468500"/>
              <a:gd name="connsiteX5" fmla="*/ 28 w 7498614"/>
              <a:gd name="connsiteY5" fmla="*/ 3230499 h 6468500"/>
              <a:gd name="connsiteX0" fmla="*/ 46977 w 7545563"/>
              <a:gd name="connsiteY0" fmla="*/ 3230499 h 6238451"/>
              <a:gd name="connsiteX1" fmla="*/ 1842779 w 7545563"/>
              <a:gd name="connsiteY1" fmla="*/ 0 h 6238451"/>
              <a:gd name="connsiteX2" fmla="*/ 7545563 w 7545563"/>
              <a:gd name="connsiteY2" fmla="*/ 11874 h 6238451"/>
              <a:gd name="connsiteX3" fmla="*/ 7545563 w 7545563"/>
              <a:gd name="connsiteY3" fmla="*/ 4560536 h 6238451"/>
              <a:gd name="connsiteX4" fmla="*/ 3255943 w 7545563"/>
              <a:gd name="connsiteY4" fmla="*/ 6199743 h 6238451"/>
              <a:gd name="connsiteX5" fmla="*/ 46977 w 7545563"/>
              <a:gd name="connsiteY5" fmla="*/ 3230499 h 6238451"/>
              <a:gd name="connsiteX0" fmla="*/ 47574 w 7546160"/>
              <a:gd name="connsiteY0" fmla="*/ 3230499 h 6445368"/>
              <a:gd name="connsiteX1" fmla="*/ 1843376 w 7546160"/>
              <a:gd name="connsiteY1" fmla="*/ 0 h 6445368"/>
              <a:gd name="connsiteX2" fmla="*/ 7546160 w 7546160"/>
              <a:gd name="connsiteY2" fmla="*/ 11874 h 6445368"/>
              <a:gd name="connsiteX3" fmla="*/ 7546160 w 7546160"/>
              <a:gd name="connsiteY3" fmla="*/ 4560536 h 6445368"/>
              <a:gd name="connsiteX4" fmla="*/ 3268415 w 7546160"/>
              <a:gd name="connsiteY4" fmla="*/ 6413499 h 6445368"/>
              <a:gd name="connsiteX5" fmla="*/ 47574 w 7546160"/>
              <a:gd name="connsiteY5" fmla="*/ 3230499 h 6445368"/>
              <a:gd name="connsiteX0" fmla="*/ 47574 w 7546160"/>
              <a:gd name="connsiteY0" fmla="*/ 3230499 h 6413560"/>
              <a:gd name="connsiteX1" fmla="*/ 1843376 w 7546160"/>
              <a:gd name="connsiteY1" fmla="*/ 0 h 6413560"/>
              <a:gd name="connsiteX2" fmla="*/ 7546160 w 7546160"/>
              <a:gd name="connsiteY2" fmla="*/ 11874 h 6413560"/>
              <a:gd name="connsiteX3" fmla="*/ 7546160 w 7546160"/>
              <a:gd name="connsiteY3" fmla="*/ 4560536 h 6413560"/>
              <a:gd name="connsiteX4" fmla="*/ 3268415 w 7546160"/>
              <a:gd name="connsiteY4" fmla="*/ 6413499 h 6413560"/>
              <a:gd name="connsiteX5" fmla="*/ 47574 w 7546160"/>
              <a:gd name="connsiteY5" fmla="*/ 3230499 h 6413560"/>
              <a:gd name="connsiteX0" fmla="*/ 0 w 7498586"/>
              <a:gd name="connsiteY0" fmla="*/ 3230499 h 6413560"/>
              <a:gd name="connsiteX1" fmla="*/ 1795802 w 7498586"/>
              <a:gd name="connsiteY1" fmla="*/ 0 h 6413560"/>
              <a:gd name="connsiteX2" fmla="*/ 7498586 w 7498586"/>
              <a:gd name="connsiteY2" fmla="*/ 11874 h 6413560"/>
              <a:gd name="connsiteX3" fmla="*/ 7498586 w 7498586"/>
              <a:gd name="connsiteY3" fmla="*/ 4560536 h 6413560"/>
              <a:gd name="connsiteX4" fmla="*/ 3220841 w 7498586"/>
              <a:gd name="connsiteY4" fmla="*/ 6413499 h 6413560"/>
              <a:gd name="connsiteX5" fmla="*/ 0 w 7498586"/>
              <a:gd name="connsiteY5" fmla="*/ 3230499 h 6413560"/>
              <a:gd name="connsiteX0" fmla="*/ 0 w 7498586"/>
              <a:gd name="connsiteY0" fmla="*/ 3230499 h 6413560"/>
              <a:gd name="connsiteX1" fmla="*/ 1795802 w 7498586"/>
              <a:gd name="connsiteY1" fmla="*/ 0 h 6413560"/>
              <a:gd name="connsiteX2" fmla="*/ 7498586 w 7498586"/>
              <a:gd name="connsiteY2" fmla="*/ 11874 h 6413560"/>
              <a:gd name="connsiteX3" fmla="*/ 7498586 w 7498586"/>
              <a:gd name="connsiteY3" fmla="*/ 4560536 h 6413560"/>
              <a:gd name="connsiteX4" fmla="*/ 3220841 w 7498586"/>
              <a:gd name="connsiteY4" fmla="*/ 6413499 h 6413560"/>
              <a:gd name="connsiteX5" fmla="*/ 0 w 7498586"/>
              <a:gd name="connsiteY5" fmla="*/ 3230499 h 6413560"/>
              <a:gd name="connsiteX0" fmla="*/ 0 w 7498586"/>
              <a:gd name="connsiteY0" fmla="*/ 3232913 h 6415974"/>
              <a:gd name="connsiteX1" fmla="*/ 1795802 w 7498586"/>
              <a:gd name="connsiteY1" fmla="*/ 2414 h 6415974"/>
              <a:gd name="connsiteX2" fmla="*/ 7493824 w 7498586"/>
              <a:gd name="connsiteY2" fmla="*/ 0 h 6415974"/>
              <a:gd name="connsiteX3" fmla="*/ 7498586 w 7498586"/>
              <a:gd name="connsiteY3" fmla="*/ 4562950 h 6415974"/>
              <a:gd name="connsiteX4" fmla="*/ 3220841 w 7498586"/>
              <a:gd name="connsiteY4" fmla="*/ 6415913 h 6415974"/>
              <a:gd name="connsiteX5" fmla="*/ 0 w 7498586"/>
              <a:gd name="connsiteY5" fmla="*/ 3232913 h 6415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498586" h="6415974">
                <a:moveTo>
                  <a:pt x="0" y="3232913"/>
                </a:moveTo>
                <a:cubicBezTo>
                  <a:pt x="0" y="1629608"/>
                  <a:pt x="564993" y="786186"/>
                  <a:pt x="1795802" y="2414"/>
                </a:cubicBezTo>
                <a:lnTo>
                  <a:pt x="7493824" y="0"/>
                </a:lnTo>
                <a:cubicBezTo>
                  <a:pt x="7493824" y="1516221"/>
                  <a:pt x="7498586" y="3046729"/>
                  <a:pt x="7498586" y="4562950"/>
                </a:cubicBezTo>
                <a:cubicBezTo>
                  <a:pt x="5646035" y="5668971"/>
                  <a:pt x="5052496" y="6423830"/>
                  <a:pt x="3220841" y="6415913"/>
                </a:cubicBezTo>
                <a:cubicBezTo>
                  <a:pt x="1389186" y="6407996"/>
                  <a:pt x="0" y="4836218"/>
                  <a:pt x="0" y="3232913"/>
                </a:cubicBezTo>
                <a:close/>
              </a:path>
            </a:pathLst>
          </a:custGeom>
          <a:solidFill>
            <a:schemeClr val="accent1">
              <a:alpha val="15000"/>
            </a:schemeClr>
          </a:solidFill>
        </p:spPr>
        <p:txBody>
          <a:bodyPr/>
          <a:lstStyle>
            <a:lvl1pPr marL="0" indent="0" algn="ctr">
              <a:buNone/>
              <a:defRPr>
                <a:solidFill>
                  <a:schemeClr val="accent2"/>
                </a:solidFill>
              </a:defRPr>
            </a:lvl1pPr>
          </a:lstStyle>
          <a:p>
            <a:r>
              <a:rPr lang="en-US"/>
              <a:t>Click icon to add picture</a:t>
            </a:r>
            <a:endParaRPr lang="en-GB" dirty="0"/>
          </a:p>
        </p:txBody>
      </p:sp>
      <p:sp>
        <p:nvSpPr>
          <p:cNvPr id="7" name="Slide Number Placeholder 6">
            <a:extLst>
              <a:ext uri="{FF2B5EF4-FFF2-40B4-BE49-F238E27FC236}">
                <a16:creationId xmlns:a16="http://schemas.microsoft.com/office/drawing/2014/main" id="{083AA513-3096-463D-86CC-9463654915BB}"/>
              </a:ext>
            </a:extLst>
          </p:cNvPr>
          <p:cNvSpPr>
            <a:spLocks noGrp="1"/>
          </p:cNvSpPr>
          <p:nvPr>
            <p:ph type="sldNum" sz="quarter" idx="14"/>
          </p:nvPr>
        </p:nvSpPr>
        <p:spPr>
          <a:xfrm>
            <a:off x="11278800" y="6400800"/>
            <a:ext cx="442800" cy="226800"/>
          </a:xfrm>
          <a:prstGeom prst="rect">
            <a:avLst/>
          </a:prstGeom>
        </p:spPr>
        <p:txBody>
          <a:bodyPr/>
          <a:lstStyle/>
          <a:p>
            <a:pPr algn="r">
              <a:lnSpc>
                <a:spcPts val="970"/>
              </a:lnSpc>
            </a:pPr>
            <a:fld id="{0B868178-02AE-42FC-958D-6B8F13B60175}" type="slidenum">
              <a:rPr lang="en-GB" smtClean="0"/>
              <a:pPr algn="r">
                <a:lnSpc>
                  <a:spcPts val="970"/>
                </a:lnSpc>
              </a:pPr>
              <a:t>‹#›</a:t>
            </a:fld>
            <a:endParaRPr lang="en-GB" sz="800" noProof="0">
              <a:solidFill>
                <a:schemeClr val="bg1"/>
              </a:solidFill>
            </a:endParaRPr>
          </a:p>
        </p:txBody>
      </p:sp>
      <p:sp>
        <p:nvSpPr>
          <p:cNvPr id="9" name="Freeform 128">
            <a:extLst>
              <a:ext uri="{FF2B5EF4-FFF2-40B4-BE49-F238E27FC236}">
                <a16:creationId xmlns:a16="http://schemas.microsoft.com/office/drawing/2014/main" id="{325003AB-491A-A547-8294-FDFB3099805E}"/>
              </a:ext>
            </a:extLst>
          </p:cNvPr>
          <p:cNvSpPr>
            <a:spLocks noChangeArrowheads="1"/>
          </p:cNvSpPr>
          <p:nvPr/>
        </p:nvSpPr>
        <p:spPr bwMode="auto">
          <a:xfrm>
            <a:off x="11095591" y="3421559"/>
            <a:ext cx="1096409" cy="1871451"/>
          </a:xfrm>
          <a:custGeom>
            <a:avLst/>
            <a:gdLst>
              <a:gd name="T0" fmla="*/ 139 w 257"/>
              <a:gd name="T1" fmla="*/ 31 h 438"/>
              <a:gd name="T2" fmla="*/ 59 w 257"/>
              <a:gd name="T3" fmla="*/ 326 h 438"/>
              <a:gd name="T4" fmla="*/ 256 w 257"/>
              <a:gd name="T5" fmla="*/ 433 h 438"/>
              <a:gd name="T6" fmla="*/ 256 w 257"/>
              <a:gd name="T7" fmla="*/ 2 h 438"/>
              <a:gd name="T8" fmla="*/ 139 w 257"/>
              <a:gd name="T9" fmla="*/ 31 h 438"/>
            </a:gdLst>
            <a:ahLst/>
            <a:cxnLst>
              <a:cxn ang="0">
                <a:pos x="T0" y="T1"/>
              </a:cxn>
              <a:cxn ang="0">
                <a:pos x="T2" y="T3"/>
              </a:cxn>
              <a:cxn ang="0">
                <a:pos x="T4" y="T5"/>
              </a:cxn>
              <a:cxn ang="0">
                <a:pos x="T6" y="T7"/>
              </a:cxn>
              <a:cxn ang="0">
                <a:pos x="T8" y="T9"/>
              </a:cxn>
            </a:cxnLst>
            <a:rect l="0" t="0" r="r" b="b"/>
            <a:pathLst>
              <a:path w="257" h="438">
                <a:moveTo>
                  <a:pt x="139" y="31"/>
                </a:moveTo>
                <a:cubicBezTo>
                  <a:pt x="35" y="90"/>
                  <a:pt x="0" y="222"/>
                  <a:pt x="59" y="326"/>
                </a:cubicBezTo>
                <a:cubicBezTo>
                  <a:pt x="101" y="398"/>
                  <a:pt x="178" y="437"/>
                  <a:pt x="256" y="433"/>
                </a:cubicBezTo>
                <a:lnTo>
                  <a:pt x="256" y="2"/>
                </a:lnTo>
                <a:cubicBezTo>
                  <a:pt x="217" y="0"/>
                  <a:pt x="176" y="9"/>
                  <a:pt x="139" y="31"/>
                </a:cubicBezTo>
              </a:path>
            </a:pathLst>
          </a:custGeom>
          <a:solidFill>
            <a:srgbClr val="00E6C7">
              <a:alpha val="70000"/>
            </a:srgb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2" name="Freeform 129">
            <a:extLst>
              <a:ext uri="{FF2B5EF4-FFF2-40B4-BE49-F238E27FC236}">
                <a16:creationId xmlns:a16="http://schemas.microsoft.com/office/drawing/2014/main" id="{C6AC55AE-3942-1C40-A820-EA8744B5C155}"/>
              </a:ext>
            </a:extLst>
          </p:cNvPr>
          <p:cNvSpPr>
            <a:spLocks noChangeArrowheads="1"/>
          </p:cNvSpPr>
          <p:nvPr/>
        </p:nvSpPr>
        <p:spPr bwMode="auto">
          <a:xfrm>
            <a:off x="4481600" y="0"/>
            <a:ext cx="2079397" cy="1569005"/>
          </a:xfrm>
          <a:custGeom>
            <a:avLst/>
            <a:gdLst>
              <a:gd name="T0" fmla="*/ 50 w 484"/>
              <a:gd name="T1" fmla="*/ 259 h 368"/>
              <a:gd name="T2" fmla="*/ 237 w 484"/>
              <a:gd name="T3" fmla="*/ 367 h 368"/>
              <a:gd name="T4" fmla="*/ 345 w 484"/>
              <a:gd name="T5" fmla="*/ 338 h 368"/>
              <a:gd name="T6" fmla="*/ 424 w 484"/>
              <a:gd name="T7" fmla="*/ 43 h 368"/>
              <a:gd name="T8" fmla="*/ 391 w 484"/>
              <a:gd name="T9" fmla="*/ 0 h 368"/>
              <a:gd name="T10" fmla="*/ 83 w 484"/>
              <a:gd name="T11" fmla="*/ 0 h 368"/>
              <a:gd name="T12" fmla="*/ 50 w 484"/>
              <a:gd name="T13" fmla="*/ 259 h 368"/>
              <a:gd name="T14" fmla="*/ 91 w 484"/>
              <a:gd name="T15" fmla="*/ 112 h 368"/>
              <a:gd name="T16" fmla="*/ 161 w 484"/>
              <a:gd name="T17" fmla="*/ 21 h 368"/>
              <a:gd name="T18" fmla="*/ 237 w 484"/>
              <a:gd name="T19" fmla="*/ 1 h 368"/>
              <a:gd name="T20" fmla="*/ 237 w 484"/>
              <a:gd name="T21" fmla="*/ 1 h 368"/>
              <a:gd name="T22" fmla="*/ 367 w 484"/>
              <a:gd name="T23" fmla="*/ 76 h 368"/>
              <a:gd name="T24" fmla="*/ 382 w 484"/>
              <a:gd name="T25" fmla="*/ 190 h 368"/>
              <a:gd name="T26" fmla="*/ 312 w 484"/>
              <a:gd name="T27" fmla="*/ 282 h 368"/>
              <a:gd name="T28" fmla="*/ 237 w 484"/>
              <a:gd name="T29" fmla="*/ 302 h 368"/>
              <a:gd name="T30" fmla="*/ 106 w 484"/>
              <a:gd name="T31" fmla="*/ 227 h 368"/>
              <a:gd name="T32" fmla="*/ 91 w 484"/>
              <a:gd name="T33" fmla="*/ 112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4" h="368">
                <a:moveTo>
                  <a:pt x="50" y="259"/>
                </a:moveTo>
                <a:cubicBezTo>
                  <a:pt x="90" y="329"/>
                  <a:pt x="162" y="367"/>
                  <a:pt x="237" y="367"/>
                </a:cubicBezTo>
                <a:cubicBezTo>
                  <a:pt x="274" y="367"/>
                  <a:pt x="311" y="358"/>
                  <a:pt x="345" y="338"/>
                </a:cubicBezTo>
                <a:cubicBezTo>
                  <a:pt x="448" y="279"/>
                  <a:pt x="483" y="147"/>
                  <a:pt x="424" y="43"/>
                </a:cubicBezTo>
                <a:cubicBezTo>
                  <a:pt x="414" y="27"/>
                  <a:pt x="403" y="13"/>
                  <a:pt x="391" y="0"/>
                </a:cubicBezTo>
                <a:lnTo>
                  <a:pt x="83" y="0"/>
                </a:lnTo>
                <a:cubicBezTo>
                  <a:pt x="16" y="67"/>
                  <a:pt x="0" y="173"/>
                  <a:pt x="50" y="259"/>
                </a:cubicBezTo>
                <a:close/>
                <a:moveTo>
                  <a:pt x="91" y="112"/>
                </a:moveTo>
                <a:cubicBezTo>
                  <a:pt x="102" y="73"/>
                  <a:pt x="127" y="41"/>
                  <a:pt x="161" y="21"/>
                </a:cubicBezTo>
                <a:cubicBezTo>
                  <a:pt x="184" y="8"/>
                  <a:pt x="210" y="1"/>
                  <a:pt x="237" y="1"/>
                </a:cubicBezTo>
                <a:lnTo>
                  <a:pt x="237" y="1"/>
                </a:lnTo>
                <a:cubicBezTo>
                  <a:pt x="290" y="1"/>
                  <a:pt x="340" y="30"/>
                  <a:pt x="367" y="76"/>
                </a:cubicBezTo>
                <a:cubicBezTo>
                  <a:pt x="387" y="111"/>
                  <a:pt x="393" y="151"/>
                  <a:pt x="382" y="190"/>
                </a:cubicBezTo>
                <a:cubicBezTo>
                  <a:pt x="372" y="229"/>
                  <a:pt x="347" y="262"/>
                  <a:pt x="312" y="282"/>
                </a:cubicBezTo>
                <a:cubicBezTo>
                  <a:pt x="289" y="295"/>
                  <a:pt x="263" y="302"/>
                  <a:pt x="237" y="302"/>
                </a:cubicBezTo>
                <a:cubicBezTo>
                  <a:pt x="183" y="302"/>
                  <a:pt x="133" y="273"/>
                  <a:pt x="106" y="227"/>
                </a:cubicBezTo>
                <a:cubicBezTo>
                  <a:pt x="86" y="192"/>
                  <a:pt x="81" y="151"/>
                  <a:pt x="91" y="112"/>
                </a:cubicBezTo>
                <a:close/>
              </a:path>
            </a:pathLst>
          </a:custGeom>
          <a:solidFill>
            <a:schemeClr val="accent3"/>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3" name="Freeform 130">
            <a:extLst>
              <a:ext uri="{FF2B5EF4-FFF2-40B4-BE49-F238E27FC236}">
                <a16:creationId xmlns:a16="http://schemas.microsoft.com/office/drawing/2014/main" id="{AAF2A540-04E2-454F-B889-3C5BEE459FD9}"/>
              </a:ext>
            </a:extLst>
          </p:cNvPr>
          <p:cNvSpPr>
            <a:spLocks noChangeArrowheads="1"/>
          </p:cNvSpPr>
          <p:nvPr/>
        </p:nvSpPr>
        <p:spPr bwMode="auto">
          <a:xfrm>
            <a:off x="5918274" y="5213380"/>
            <a:ext cx="3856336" cy="1644620"/>
          </a:xfrm>
          <a:custGeom>
            <a:avLst/>
            <a:gdLst>
              <a:gd name="T0" fmla="*/ 851 w 898"/>
              <a:gd name="T1" fmla="*/ 139 h 382"/>
              <a:gd name="T2" fmla="*/ 556 w 898"/>
              <a:gd name="T3" fmla="*/ 60 h 382"/>
              <a:gd name="T4" fmla="*/ 0 w 898"/>
              <a:gd name="T5" fmla="*/ 381 h 382"/>
              <a:gd name="T6" fmla="*/ 833 w 898"/>
              <a:gd name="T7" fmla="*/ 381 h 382"/>
              <a:gd name="T8" fmla="*/ 851 w 898"/>
              <a:gd name="T9" fmla="*/ 139 h 382"/>
            </a:gdLst>
            <a:ahLst/>
            <a:cxnLst>
              <a:cxn ang="0">
                <a:pos x="T0" y="T1"/>
              </a:cxn>
              <a:cxn ang="0">
                <a:pos x="T2" y="T3"/>
              </a:cxn>
              <a:cxn ang="0">
                <a:pos x="T4" y="T5"/>
              </a:cxn>
              <a:cxn ang="0">
                <a:pos x="T6" y="T7"/>
              </a:cxn>
              <a:cxn ang="0">
                <a:pos x="T8" y="T9"/>
              </a:cxn>
            </a:cxnLst>
            <a:rect l="0" t="0" r="r" b="b"/>
            <a:pathLst>
              <a:path w="898" h="382">
                <a:moveTo>
                  <a:pt x="851" y="139"/>
                </a:moveTo>
                <a:cubicBezTo>
                  <a:pt x="791" y="35"/>
                  <a:pt x="659" y="0"/>
                  <a:pt x="556" y="60"/>
                </a:cubicBezTo>
                <a:lnTo>
                  <a:pt x="0" y="381"/>
                </a:lnTo>
                <a:lnTo>
                  <a:pt x="833" y="381"/>
                </a:lnTo>
                <a:cubicBezTo>
                  <a:pt x="887" y="314"/>
                  <a:pt x="897" y="218"/>
                  <a:pt x="851" y="139"/>
                </a:cubicBezTo>
              </a:path>
            </a:pathLst>
          </a:custGeom>
          <a:solidFill>
            <a:srgbClr val="00E6C7">
              <a:alpha val="40000"/>
            </a:srgb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a:p>
        </p:txBody>
      </p:sp>
      <p:sp>
        <p:nvSpPr>
          <p:cNvPr id="14" name="Title 1">
            <a:extLst>
              <a:ext uri="{FF2B5EF4-FFF2-40B4-BE49-F238E27FC236}">
                <a16:creationId xmlns:a16="http://schemas.microsoft.com/office/drawing/2014/main" id="{ED878C1E-6FBA-4C79-A678-CC522AB6304C}"/>
              </a:ext>
            </a:extLst>
          </p:cNvPr>
          <p:cNvSpPr>
            <a:spLocks noGrp="1"/>
          </p:cNvSpPr>
          <p:nvPr userDrawn="1">
            <p:ph type="title"/>
          </p:nvPr>
        </p:nvSpPr>
        <p:spPr>
          <a:xfrm>
            <a:off x="442913" y="1376363"/>
            <a:ext cx="4038687" cy="3245879"/>
          </a:xfrm>
        </p:spPr>
        <p:txBody>
          <a:bodyPr vert="horz" lIns="0" tIns="0" rIns="0" bIns="0" rtlCol="0" anchor="t" anchorCtr="0">
            <a:normAutofit/>
          </a:bodyPr>
          <a:lstStyle>
            <a:lvl1pPr marL="0" indent="0">
              <a:buFont typeface="Arial" panose="020B0604020202020204" pitchFamily="34" charset="0"/>
              <a:buNone/>
              <a:defRPr lang="en-GB" sz="5400" dirty="0"/>
            </a:lvl1pPr>
          </a:lstStyle>
          <a:p>
            <a:pPr lvl="0"/>
            <a:r>
              <a:rPr lang="en-US" dirty="0"/>
              <a:t>Click to edit Master title style</a:t>
            </a:r>
            <a:endParaRPr lang="en-GB" dirty="0"/>
          </a:p>
        </p:txBody>
      </p:sp>
      <p:sp>
        <p:nvSpPr>
          <p:cNvPr id="15" name="Text Placeholder 2">
            <a:extLst>
              <a:ext uri="{FF2B5EF4-FFF2-40B4-BE49-F238E27FC236}">
                <a16:creationId xmlns:a16="http://schemas.microsoft.com/office/drawing/2014/main" id="{1954511D-8D7B-47B9-BEAF-9346F271E02D}"/>
              </a:ext>
            </a:extLst>
          </p:cNvPr>
          <p:cNvSpPr>
            <a:spLocks noGrp="1"/>
          </p:cNvSpPr>
          <p:nvPr userDrawn="1">
            <p:ph type="body" idx="1"/>
          </p:nvPr>
        </p:nvSpPr>
        <p:spPr>
          <a:xfrm>
            <a:off x="442913" y="444440"/>
            <a:ext cx="4038687" cy="931923"/>
          </a:xfrm>
        </p:spPr>
        <p:txBody>
          <a:bodyPr vert="horz" lIns="0" tIns="0" rIns="0" bIns="0" rtlCol="0" anchor="t" anchorCtr="0">
            <a:normAutofit/>
          </a:bodyPr>
          <a:lstStyle>
            <a:lvl1pPr marL="0" indent="0">
              <a:buNone/>
              <a:defRPr lang="en-US" sz="2800" smtClean="0">
                <a:solidFill>
                  <a:schemeClr val="accent2"/>
                </a:solidFill>
              </a:defRPr>
            </a:lvl1pPr>
          </a:lstStyle>
          <a:p>
            <a:pPr marL="228600" lvl="0" indent="-228600">
              <a:spcAft>
                <a:spcPts val="0"/>
              </a:spcAft>
            </a:pPr>
            <a:r>
              <a:rPr lang="en-US" dirty="0"/>
              <a:t>Click to edit Master text styles</a:t>
            </a:r>
          </a:p>
        </p:txBody>
      </p:sp>
    </p:spTree>
    <p:extLst>
      <p:ext uri="{BB962C8B-B14F-4D97-AF65-F5344CB8AC3E}">
        <p14:creationId xmlns:p14="http://schemas.microsoft.com/office/powerpoint/2010/main" val="2402553389"/>
      </p:ext>
    </p:extLst>
  </p:cSld>
  <p:clrMapOvr>
    <a:masterClrMapping/>
  </p:clrMapOvr>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_Call-out + image v1a">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08EBF337-E117-074B-B54E-5B792BB844C5}"/>
              </a:ext>
            </a:extLst>
          </p:cNvPr>
          <p:cNvPicPr>
            <a:picLocks noChangeAspect="1"/>
          </p:cNvPicPr>
          <p:nvPr userDrawn="1"/>
        </p:nvPicPr>
        <p:blipFill>
          <a:blip r:embed="rId2"/>
          <a:stretch>
            <a:fillRect/>
          </a:stretch>
        </p:blipFill>
        <p:spPr>
          <a:xfrm>
            <a:off x="4723680" y="-27384"/>
            <a:ext cx="7493000" cy="6413500"/>
          </a:xfrm>
          <a:prstGeom prst="rect">
            <a:avLst/>
          </a:prstGeom>
        </p:spPr>
      </p:pic>
      <p:sp>
        <p:nvSpPr>
          <p:cNvPr id="7" name="Slide Number Placeholder 6">
            <a:extLst>
              <a:ext uri="{FF2B5EF4-FFF2-40B4-BE49-F238E27FC236}">
                <a16:creationId xmlns:a16="http://schemas.microsoft.com/office/drawing/2014/main" id="{083AA513-3096-463D-86CC-9463654915BB}"/>
              </a:ext>
            </a:extLst>
          </p:cNvPr>
          <p:cNvSpPr>
            <a:spLocks noGrp="1"/>
          </p:cNvSpPr>
          <p:nvPr>
            <p:ph type="sldNum" sz="quarter" idx="14"/>
          </p:nvPr>
        </p:nvSpPr>
        <p:spPr>
          <a:xfrm>
            <a:off x="11278800" y="6400800"/>
            <a:ext cx="442800" cy="226800"/>
          </a:xfrm>
          <a:prstGeom prst="rect">
            <a:avLst/>
          </a:prstGeom>
        </p:spPr>
        <p:txBody>
          <a:bodyPr/>
          <a:lstStyle/>
          <a:p>
            <a:pPr algn="r">
              <a:lnSpc>
                <a:spcPts val="970"/>
              </a:lnSpc>
            </a:pPr>
            <a:fld id="{0B868178-02AE-42FC-958D-6B8F13B60175}" type="slidenum">
              <a:rPr lang="en-GB" smtClean="0"/>
              <a:pPr algn="r">
                <a:lnSpc>
                  <a:spcPts val="970"/>
                </a:lnSpc>
              </a:pPr>
              <a:t>‹#›</a:t>
            </a:fld>
            <a:endParaRPr lang="en-GB" sz="800" noProof="0">
              <a:solidFill>
                <a:schemeClr val="bg1"/>
              </a:solidFill>
            </a:endParaRPr>
          </a:p>
        </p:txBody>
      </p:sp>
      <p:sp>
        <p:nvSpPr>
          <p:cNvPr id="9" name="Freeform 128">
            <a:extLst>
              <a:ext uri="{FF2B5EF4-FFF2-40B4-BE49-F238E27FC236}">
                <a16:creationId xmlns:a16="http://schemas.microsoft.com/office/drawing/2014/main" id="{325003AB-491A-A547-8294-FDFB3099805E}"/>
              </a:ext>
            </a:extLst>
          </p:cNvPr>
          <p:cNvSpPr>
            <a:spLocks noChangeArrowheads="1"/>
          </p:cNvSpPr>
          <p:nvPr/>
        </p:nvSpPr>
        <p:spPr bwMode="auto">
          <a:xfrm>
            <a:off x="11095591" y="3421559"/>
            <a:ext cx="1096409" cy="1871451"/>
          </a:xfrm>
          <a:custGeom>
            <a:avLst/>
            <a:gdLst>
              <a:gd name="T0" fmla="*/ 139 w 257"/>
              <a:gd name="T1" fmla="*/ 31 h 438"/>
              <a:gd name="T2" fmla="*/ 59 w 257"/>
              <a:gd name="T3" fmla="*/ 326 h 438"/>
              <a:gd name="T4" fmla="*/ 256 w 257"/>
              <a:gd name="T5" fmla="*/ 433 h 438"/>
              <a:gd name="T6" fmla="*/ 256 w 257"/>
              <a:gd name="T7" fmla="*/ 2 h 438"/>
              <a:gd name="T8" fmla="*/ 139 w 257"/>
              <a:gd name="T9" fmla="*/ 31 h 438"/>
            </a:gdLst>
            <a:ahLst/>
            <a:cxnLst>
              <a:cxn ang="0">
                <a:pos x="T0" y="T1"/>
              </a:cxn>
              <a:cxn ang="0">
                <a:pos x="T2" y="T3"/>
              </a:cxn>
              <a:cxn ang="0">
                <a:pos x="T4" y="T5"/>
              </a:cxn>
              <a:cxn ang="0">
                <a:pos x="T6" y="T7"/>
              </a:cxn>
              <a:cxn ang="0">
                <a:pos x="T8" y="T9"/>
              </a:cxn>
            </a:cxnLst>
            <a:rect l="0" t="0" r="r" b="b"/>
            <a:pathLst>
              <a:path w="257" h="438">
                <a:moveTo>
                  <a:pt x="139" y="31"/>
                </a:moveTo>
                <a:cubicBezTo>
                  <a:pt x="35" y="90"/>
                  <a:pt x="0" y="222"/>
                  <a:pt x="59" y="326"/>
                </a:cubicBezTo>
                <a:cubicBezTo>
                  <a:pt x="101" y="398"/>
                  <a:pt x="178" y="437"/>
                  <a:pt x="256" y="433"/>
                </a:cubicBezTo>
                <a:lnTo>
                  <a:pt x="256" y="2"/>
                </a:lnTo>
                <a:cubicBezTo>
                  <a:pt x="217" y="0"/>
                  <a:pt x="176" y="9"/>
                  <a:pt x="139" y="31"/>
                </a:cubicBezTo>
              </a:path>
            </a:pathLst>
          </a:custGeom>
          <a:solidFill>
            <a:schemeClr val="accent4">
              <a:alpha val="70000"/>
            </a:schemeClr>
          </a:solidFill>
          <a:ln>
            <a:noFill/>
          </a:ln>
          <a:effectLst/>
        </p:spPr>
        <p:txBody>
          <a:bodyPr wrap="none" anchor="ctr"/>
          <a:lstStyle/>
          <a:p>
            <a:endParaRPr dirty="0"/>
          </a:p>
        </p:txBody>
      </p:sp>
      <p:sp>
        <p:nvSpPr>
          <p:cNvPr id="12" name="Freeform 129">
            <a:extLst>
              <a:ext uri="{FF2B5EF4-FFF2-40B4-BE49-F238E27FC236}">
                <a16:creationId xmlns:a16="http://schemas.microsoft.com/office/drawing/2014/main" id="{C6AC55AE-3942-1C40-A820-EA8744B5C155}"/>
              </a:ext>
            </a:extLst>
          </p:cNvPr>
          <p:cNvSpPr>
            <a:spLocks noChangeArrowheads="1"/>
          </p:cNvSpPr>
          <p:nvPr/>
        </p:nvSpPr>
        <p:spPr bwMode="auto">
          <a:xfrm>
            <a:off x="4481600" y="0"/>
            <a:ext cx="2079397" cy="1569005"/>
          </a:xfrm>
          <a:custGeom>
            <a:avLst/>
            <a:gdLst>
              <a:gd name="T0" fmla="*/ 50 w 484"/>
              <a:gd name="T1" fmla="*/ 259 h 368"/>
              <a:gd name="T2" fmla="*/ 237 w 484"/>
              <a:gd name="T3" fmla="*/ 367 h 368"/>
              <a:gd name="T4" fmla="*/ 345 w 484"/>
              <a:gd name="T5" fmla="*/ 338 h 368"/>
              <a:gd name="T6" fmla="*/ 424 w 484"/>
              <a:gd name="T7" fmla="*/ 43 h 368"/>
              <a:gd name="T8" fmla="*/ 391 w 484"/>
              <a:gd name="T9" fmla="*/ 0 h 368"/>
              <a:gd name="T10" fmla="*/ 83 w 484"/>
              <a:gd name="T11" fmla="*/ 0 h 368"/>
              <a:gd name="T12" fmla="*/ 50 w 484"/>
              <a:gd name="T13" fmla="*/ 259 h 368"/>
              <a:gd name="T14" fmla="*/ 91 w 484"/>
              <a:gd name="T15" fmla="*/ 112 h 368"/>
              <a:gd name="T16" fmla="*/ 161 w 484"/>
              <a:gd name="T17" fmla="*/ 21 h 368"/>
              <a:gd name="T18" fmla="*/ 237 w 484"/>
              <a:gd name="T19" fmla="*/ 1 h 368"/>
              <a:gd name="T20" fmla="*/ 237 w 484"/>
              <a:gd name="T21" fmla="*/ 1 h 368"/>
              <a:gd name="T22" fmla="*/ 367 w 484"/>
              <a:gd name="T23" fmla="*/ 76 h 368"/>
              <a:gd name="T24" fmla="*/ 382 w 484"/>
              <a:gd name="T25" fmla="*/ 190 h 368"/>
              <a:gd name="T26" fmla="*/ 312 w 484"/>
              <a:gd name="T27" fmla="*/ 282 h 368"/>
              <a:gd name="T28" fmla="*/ 237 w 484"/>
              <a:gd name="T29" fmla="*/ 302 h 368"/>
              <a:gd name="T30" fmla="*/ 106 w 484"/>
              <a:gd name="T31" fmla="*/ 227 h 368"/>
              <a:gd name="T32" fmla="*/ 91 w 484"/>
              <a:gd name="T33" fmla="*/ 112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4" h="368">
                <a:moveTo>
                  <a:pt x="50" y="259"/>
                </a:moveTo>
                <a:cubicBezTo>
                  <a:pt x="90" y="329"/>
                  <a:pt x="162" y="367"/>
                  <a:pt x="237" y="367"/>
                </a:cubicBezTo>
                <a:cubicBezTo>
                  <a:pt x="274" y="367"/>
                  <a:pt x="311" y="358"/>
                  <a:pt x="345" y="338"/>
                </a:cubicBezTo>
                <a:cubicBezTo>
                  <a:pt x="448" y="279"/>
                  <a:pt x="483" y="147"/>
                  <a:pt x="424" y="43"/>
                </a:cubicBezTo>
                <a:cubicBezTo>
                  <a:pt x="414" y="27"/>
                  <a:pt x="403" y="13"/>
                  <a:pt x="391" y="0"/>
                </a:cubicBezTo>
                <a:lnTo>
                  <a:pt x="83" y="0"/>
                </a:lnTo>
                <a:cubicBezTo>
                  <a:pt x="16" y="67"/>
                  <a:pt x="0" y="173"/>
                  <a:pt x="50" y="259"/>
                </a:cubicBezTo>
                <a:close/>
                <a:moveTo>
                  <a:pt x="91" y="112"/>
                </a:moveTo>
                <a:cubicBezTo>
                  <a:pt x="102" y="73"/>
                  <a:pt x="127" y="41"/>
                  <a:pt x="161" y="21"/>
                </a:cubicBezTo>
                <a:cubicBezTo>
                  <a:pt x="184" y="8"/>
                  <a:pt x="210" y="1"/>
                  <a:pt x="237" y="1"/>
                </a:cubicBezTo>
                <a:lnTo>
                  <a:pt x="237" y="1"/>
                </a:lnTo>
                <a:cubicBezTo>
                  <a:pt x="290" y="1"/>
                  <a:pt x="340" y="30"/>
                  <a:pt x="367" y="76"/>
                </a:cubicBezTo>
                <a:cubicBezTo>
                  <a:pt x="387" y="111"/>
                  <a:pt x="393" y="151"/>
                  <a:pt x="382" y="190"/>
                </a:cubicBezTo>
                <a:cubicBezTo>
                  <a:pt x="372" y="229"/>
                  <a:pt x="347" y="262"/>
                  <a:pt x="312" y="282"/>
                </a:cubicBezTo>
                <a:cubicBezTo>
                  <a:pt x="289" y="295"/>
                  <a:pt x="263" y="302"/>
                  <a:pt x="237" y="302"/>
                </a:cubicBezTo>
                <a:cubicBezTo>
                  <a:pt x="183" y="302"/>
                  <a:pt x="133" y="273"/>
                  <a:pt x="106" y="227"/>
                </a:cubicBezTo>
                <a:cubicBezTo>
                  <a:pt x="86" y="192"/>
                  <a:pt x="81" y="151"/>
                  <a:pt x="91" y="112"/>
                </a:cubicBezTo>
                <a:close/>
              </a:path>
            </a:pathLst>
          </a:custGeom>
          <a:solidFill>
            <a:schemeClr val="accent1"/>
          </a:solidFill>
          <a:ln>
            <a:noFill/>
          </a:ln>
          <a:effectLst/>
        </p:spPr>
        <p:txBody>
          <a:bodyPr wrap="none" anchor="ctr"/>
          <a:lstStyle/>
          <a:p>
            <a:endParaRPr dirty="0"/>
          </a:p>
        </p:txBody>
      </p:sp>
      <p:sp>
        <p:nvSpPr>
          <p:cNvPr id="13" name="Freeform 130">
            <a:extLst>
              <a:ext uri="{FF2B5EF4-FFF2-40B4-BE49-F238E27FC236}">
                <a16:creationId xmlns:a16="http://schemas.microsoft.com/office/drawing/2014/main" id="{AAF2A540-04E2-454F-B889-3C5BEE459FD9}"/>
              </a:ext>
            </a:extLst>
          </p:cNvPr>
          <p:cNvSpPr>
            <a:spLocks noChangeArrowheads="1"/>
          </p:cNvSpPr>
          <p:nvPr/>
        </p:nvSpPr>
        <p:spPr bwMode="auto">
          <a:xfrm>
            <a:off x="5918274" y="5213380"/>
            <a:ext cx="3856336" cy="1644620"/>
          </a:xfrm>
          <a:custGeom>
            <a:avLst/>
            <a:gdLst>
              <a:gd name="T0" fmla="*/ 851 w 898"/>
              <a:gd name="T1" fmla="*/ 139 h 382"/>
              <a:gd name="T2" fmla="*/ 556 w 898"/>
              <a:gd name="T3" fmla="*/ 60 h 382"/>
              <a:gd name="T4" fmla="*/ 0 w 898"/>
              <a:gd name="T5" fmla="*/ 381 h 382"/>
              <a:gd name="T6" fmla="*/ 833 w 898"/>
              <a:gd name="T7" fmla="*/ 381 h 382"/>
              <a:gd name="T8" fmla="*/ 851 w 898"/>
              <a:gd name="T9" fmla="*/ 139 h 382"/>
            </a:gdLst>
            <a:ahLst/>
            <a:cxnLst>
              <a:cxn ang="0">
                <a:pos x="T0" y="T1"/>
              </a:cxn>
              <a:cxn ang="0">
                <a:pos x="T2" y="T3"/>
              </a:cxn>
              <a:cxn ang="0">
                <a:pos x="T4" y="T5"/>
              </a:cxn>
              <a:cxn ang="0">
                <a:pos x="T6" y="T7"/>
              </a:cxn>
              <a:cxn ang="0">
                <a:pos x="T8" y="T9"/>
              </a:cxn>
            </a:cxnLst>
            <a:rect l="0" t="0" r="r" b="b"/>
            <a:pathLst>
              <a:path w="898" h="382">
                <a:moveTo>
                  <a:pt x="851" y="139"/>
                </a:moveTo>
                <a:cubicBezTo>
                  <a:pt x="791" y="35"/>
                  <a:pt x="659" y="0"/>
                  <a:pt x="556" y="60"/>
                </a:cubicBezTo>
                <a:lnTo>
                  <a:pt x="0" y="381"/>
                </a:lnTo>
                <a:lnTo>
                  <a:pt x="833" y="381"/>
                </a:lnTo>
                <a:cubicBezTo>
                  <a:pt x="887" y="314"/>
                  <a:pt x="897" y="218"/>
                  <a:pt x="851" y="139"/>
                </a:cubicBezTo>
              </a:path>
            </a:pathLst>
          </a:custGeom>
          <a:solidFill>
            <a:schemeClr val="accent4">
              <a:alpha val="40000"/>
            </a:schemeClr>
          </a:solidFill>
          <a:ln>
            <a:noFill/>
          </a:ln>
          <a:effectLst/>
        </p:spPr>
        <p:txBody>
          <a:bodyPr wrap="none" anchor="ctr"/>
          <a:lstStyle/>
          <a:p>
            <a:endParaRPr/>
          </a:p>
        </p:txBody>
      </p:sp>
      <p:sp>
        <p:nvSpPr>
          <p:cNvPr id="14" name="Title 1">
            <a:extLst>
              <a:ext uri="{FF2B5EF4-FFF2-40B4-BE49-F238E27FC236}">
                <a16:creationId xmlns:a16="http://schemas.microsoft.com/office/drawing/2014/main" id="{ED878C1E-6FBA-4C79-A678-CC522AB6304C}"/>
              </a:ext>
            </a:extLst>
          </p:cNvPr>
          <p:cNvSpPr>
            <a:spLocks noGrp="1"/>
          </p:cNvSpPr>
          <p:nvPr userDrawn="1">
            <p:ph type="title"/>
          </p:nvPr>
        </p:nvSpPr>
        <p:spPr>
          <a:xfrm>
            <a:off x="442913" y="1376363"/>
            <a:ext cx="4038687" cy="3245879"/>
          </a:xfrm>
        </p:spPr>
        <p:txBody>
          <a:bodyPr vert="horz" lIns="0" tIns="0" rIns="0" bIns="0" rtlCol="0" anchor="t" anchorCtr="0">
            <a:normAutofit/>
          </a:bodyPr>
          <a:lstStyle>
            <a:lvl1pPr marL="0" indent="0">
              <a:buFont typeface="Arial" panose="020B0604020202020204" pitchFamily="34" charset="0"/>
              <a:buNone/>
              <a:defRPr lang="en-GB" sz="5400" dirty="0"/>
            </a:lvl1pPr>
          </a:lstStyle>
          <a:p>
            <a:pPr lvl="0"/>
            <a:r>
              <a:rPr lang="en-US" dirty="0"/>
              <a:t>Click to edit Master title style</a:t>
            </a:r>
            <a:endParaRPr lang="en-GB" dirty="0"/>
          </a:p>
        </p:txBody>
      </p:sp>
      <p:sp>
        <p:nvSpPr>
          <p:cNvPr id="15" name="Text Placeholder 2">
            <a:extLst>
              <a:ext uri="{FF2B5EF4-FFF2-40B4-BE49-F238E27FC236}">
                <a16:creationId xmlns:a16="http://schemas.microsoft.com/office/drawing/2014/main" id="{1954511D-8D7B-47B9-BEAF-9346F271E02D}"/>
              </a:ext>
            </a:extLst>
          </p:cNvPr>
          <p:cNvSpPr>
            <a:spLocks noGrp="1"/>
          </p:cNvSpPr>
          <p:nvPr userDrawn="1">
            <p:ph type="body" idx="1"/>
          </p:nvPr>
        </p:nvSpPr>
        <p:spPr>
          <a:xfrm>
            <a:off x="442913" y="444440"/>
            <a:ext cx="4038687" cy="931923"/>
          </a:xfrm>
        </p:spPr>
        <p:txBody>
          <a:bodyPr vert="horz" lIns="0" tIns="0" rIns="0" bIns="0" rtlCol="0" anchor="t" anchorCtr="0">
            <a:normAutofit/>
          </a:bodyPr>
          <a:lstStyle>
            <a:lvl1pPr marL="0" indent="0">
              <a:buNone/>
              <a:defRPr lang="en-US" sz="2800" smtClean="0">
                <a:solidFill>
                  <a:schemeClr val="accent2"/>
                </a:solidFill>
              </a:defRPr>
            </a:lvl1pPr>
          </a:lstStyle>
          <a:p>
            <a:pPr marL="228600" lvl="0" indent="-228600">
              <a:spcAft>
                <a:spcPts val="0"/>
              </a:spcAft>
            </a:pPr>
            <a:r>
              <a:rPr lang="en-US" dirty="0"/>
              <a:t>Click to edit Master text styles</a:t>
            </a:r>
          </a:p>
        </p:txBody>
      </p:sp>
      <p:sp>
        <p:nvSpPr>
          <p:cNvPr id="18" name="Rechthoek 2">
            <a:extLst>
              <a:ext uri="{FF2B5EF4-FFF2-40B4-BE49-F238E27FC236}">
                <a16:creationId xmlns:a16="http://schemas.microsoft.com/office/drawing/2014/main" id="{FFD3F59E-49E1-2543-8272-6CC8A42B02AD}"/>
              </a:ext>
            </a:extLst>
          </p:cNvPr>
          <p:cNvSpPr/>
          <p:nvPr userDrawn="1"/>
        </p:nvSpPr>
        <p:spPr>
          <a:xfrm>
            <a:off x="10002839" y="143250"/>
            <a:ext cx="1633781"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accent4"/>
                </a:solidFill>
                <a:effectLst/>
                <a:uLnTx/>
                <a:uFillTx/>
                <a:latin typeface="+mn-lt"/>
                <a:ea typeface="+mn-ea"/>
                <a:cs typeface="+mn-cs"/>
              </a:rPr>
              <a:t>Colt confidential</a:t>
            </a:r>
          </a:p>
        </p:txBody>
      </p:sp>
    </p:spTree>
    <p:extLst>
      <p:ext uri="{BB962C8B-B14F-4D97-AF65-F5344CB8AC3E}">
        <p14:creationId xmlns:p14="http://schemas.microsoft.com/office/powerpoint/2010/main" val="1450432911"/>
      </p:ext>
    </p:extLst>
  </p:cSld>
  <p:clrMapOvr>
    <a:masterClrMapping/>
  </p:clrMapOvr>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Call-out + image v1a">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53486890-8BCD-EB48-9611-14633A30D1D4}"/>
              </a:ext>
            </a:extLst>
          </p:cNvPr>
          <p:cNvPicPr>
            <a:picLocks noChangeAspect="1"/>
          </p:cNvPicPr>
          <p:nvPr userDrawn="1"/>
        </p:nvPicPr>
        <p:blipFill>
          <a:blip r:embed="rId2"/>
          <a:stretch>
            <a:fillRect/>
          </a:stretch>
        </p:blipFill>
        <p:spPr>
          <a:xfrm>
            <a:off x="4723680" y="-27384"/>
            <a:ext cx="7493000" cy="6413500"/>
          </a:xfrm>
          <a:prstGeom prst="rect">
            <a:avLst/>
          </a:prstGeom>
        </p:spPr>
      </p:pic>
      <p:sp>
        <p:nvSpPr>
          <p:cNvPr id="7" name="Slide Number Placeholder 6">
            <a:extLst>
              <a:ext uri="{FF2B5EF4-FFF2-40B4-BE49-F238E27FC236}">
                <a16:creationId xmlns:a16="http://schemas.microsoft.com/office/drawing/2014/main" id="{083AA513-3096-463D-86CC-9463654915BB}"/>
              </a:ext>
            </a:extLst>
          </p:cNvPr>
          <p:cNvSpPr>
            <a:spLocks noGrp="1"/>
          </p:cNvSpPr>
          <p:nvPr>
            <p:ph type="sldNum" sz="quarter" idx="14"/>
          </p:nvPr>
        </p:nvSpPr>
        <p:spPr>
          <a:xfrm>
            <a:off x="11278800" y="6400800"/>
            <a:ext cx="442800" cy="226800"/>
          </a:xfrm>
          <a:prstGeom prst="rect">
            <a:avLst/>
          </a:prstGeom>
        </p:spPr>
        <p:txBody>
          <a:bodyPr/>
          <a:lstStyle/>
          <a:p>
            <a:pPr algn="r">
              <a:lnSpc>
                <a:spcPts val="970"/>
              </a:lnSpc>
            </a:pPr>
            <a:fld id="{0B868178-02AE-42FC-958D-6B8F13B60175}" type="slidenum">
              <a:rPr lang="en-GB" smtClean="0"/>
              <a:pPr algn="r">
                <a:lnSpc>
                  <a:spcPts val="970"/>
                </a:lnSpc>
              </a:pPr>
              <a:t>‹#›</a:t>
            </a:fld>
            <a:endParaRPr lang="en-GB" sz="800" noProof="0">
              <a:solidFill>
                <a:schemeClr val="bg1"/>
              </a:solidFill>
            </a:endParaRPr>
          </a:p>
        </p:txBody>
      </p:sp>
      <p:sp>
        <p:nvSpPr>
          <p:cNvPr id="9" name="Freeform 128">
            <a:extLst>
              <a:ext uri="{FF2B5EF4-FFF2-40B4-BE49-F238E27FC236}">
                <a16:creationId xmlns:a16="http://schemas.microsoft.com/office/drawing/2014/main" id="{325003AB-491A-A547-8294-FDFB3099805E}"/>
              </a:ext>
            </a:extLst>
          </p:cNvPr>
          <p:cNvSpPr>
            <a:spLocks noChangeArrowheads="1"/>
          </p:cNvSpPr>
          <p:nvPr/>
        </p:nvSpPr>
        <p:spPr bwMode="auto">
          <a:xfrm>
            <a:off x="11095591" y="3421559"/>
            <a:ext cx="1096409" cy="1871451"/>
          </a:xfrm>
          <a:custGeom>
            <a:avLst/>
            <a:gdLst>
              <a:gd name="T0" fmla="*/ 139 w 257"/>
              <a:gd name="T1" fmla="*/ 31 h 438"/>
              <a:gd name="T2" fmla="*/ 59 w 257"/>
              <a:gd name="T3" fmla="*/ 326 h 438"/>
              <a:gd name="T4" fmla="*/ 256 w 257"/>
              <a:gd name="T5" fmla="*/ 433 h 438"/>
              <a:gd name="T6" fmla="*/ 256 w 257"/>
              <a:gd name="T7" fmla="*/ 2 h 438"/>
              <a:gd name="T8" fmla="*/ 139 w 257"/>
              <a:gd name="T9" fmla="*/ 31 h 438"/>
            </a:gdLst>
            <a:ahLst/>
            <a:cxnLst>
              <a:cxn ang="0">
                <a:pos x="T0" y="T1"/>
              </a:cxn>
              <a:cxn ang="0">
                <a:pos x="T2" y="T3"/>
              </a:cxn>
              <a:cxn ang="0">
                <a:pos x="T4" y="T5"/>
              </a:cxn>
              <a:cxn ang="0">
                <a:pos x="T6" y="T7"/>
              </a:cxn>
              <a:cxn ang="0">
                <a:pos x="T8" y="T9"/>
              </a:cxn>
            </a:cxnLst>
            <a:rect l="0" t="0" r="r" b="b"/>
            <a:pathLst>
              <a:path w="257" h="438">
                <a:moveTo>
                  <a:pt x="139" y="31"/>
                </a:moveTo>
                <a:cubicBezTo>
                  <a:pt x="35" y="90"/>
                  <a:pt x="0" y="222"/>
                  <a:pt x="59" y="326"/>
                </a:cubicBezTo>
                <a:cubicBezTo>
                  <a:pt x="101" y="398"/>
                  <a:pt x="178" y="437"/>
                  <a:pt x="256" y="433"/>
                </a:cubicBezTo>
                <a:lnTo>
                  <a:pt x="256" y="2"/>
                </a:lnTo>
                <a:cubicBezTo>
                  <a:pt x="217" y="0"/>
                  <a:pt x="176" y="9"/>
                  <a:pt x="139" y="31"/>
                </a:cubicBezTo>
              </a:path>
            </a:pathLst>
          </a:custGeom>
          <a:solidFill>
            <a:srgbClr val="00E6C7">
              <a:alpha val="70000"/>
            </a:srgb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2" name="Freeform 129">
            <a:extLst>
              <a:ext uri="{FF2B5EF4-FFF2-40B4-BE49-F238E27FC236}">
                <a16:creationId xmlns:a16="http://schemas.microsoft.com/office/drawing/2014/main" id="{C6AC55AE-3942-1C40-A820-EA8744B5C155}"/>
              </a:ext>
            </a:extLst>
          </p:cNvPr>
          <p:cNvSpPr>
            <a:spLocks noChangeArrowheads="1"/>
          </p:cNvSpPr>
          <p:nvPr/>
        </p:nvSpPr>
        <p:spPr bwMode="auto">
          <a:xfrm>
            <a:off x="4481600" y="0"/>
            <a:ext cx="2079397" cy="1569005"/>
          </a:xfrm>
          <a:custGeom>
            <a:avLst/>
            <a:gdLst>
              <a:gd name="T0" fmla="*/ 50 w 484"/>
              <a:gd name="T1" fmla="*/ 259 h 368"/>
              <a:gd name="T2" fmla="*/ 237 w 484"/>
              <a:gd name="T3" fmla="*/ 367 h 368"/>
              <a:gd name="T4" fmla="*/ 345 w 484"/>
              <a:gd name="T5" fmla="*/ 338 h 368"/>
              <a:gd name="T6" fmla="*/ 424 w 484"/>
              <a:gd name="T7" fmla="*/ 43 h 368"/>
              <a:gd name="T8" fmla="*/ 391 w 484"/>
              <a:gd name="T9" fmla="*/ 0 h 368"/>
              <a:gd name="T10" fmla="*/ 83 w 484"/>
              <a:gd name="T11" fmla="*/ 0 h 368"/>
              <a:gd name="T12" fmla="*/ 50 w 484"/>
              <a:gd name="T13" fmla="*/ 259 h 368"/>
              <a:gd name="T14" fmla="*/ 91 w 484"/>
              <a:gd name="T15" fmla="*/ 112 h 368"/>
              <a:gd name="T16" fmla="*/ 161 w 484"/>
              <a:gd name="T17" fmla="*/ 21 h 368"/>
              <a:gd name="T18" fmla="*/ 237 w 484"/>
              <a:gd name="T19" fmla="*/ 1 h 368"/>
              <a:gd name="T20" fmla="*/ 237 w 484"/>
              <a:gd name="T21" fmla="*/ 1 h 368"/>
              <a:gd name="T22" fmla="*/ 367 w 484"/>
              <a:gd name="T23" fmla="*/ 76 h 368"/>
              <a:gd name="T24" fmla="*/ 382 w 484"/>
              <a:gd name="T25" fmla="*/ 190 h 368"/>
              <a:gd name="T26" fmla="*/ 312 w 484"/>
              <a:gd name="T27" fmla="*/ 282 h 368"/>
              <a:gd name="T28" fmla="*/ 237 w 484"/>
              <a:gd name="T29" fmla="*/ 302 h 368"/>
              <a:gd name="T30" fmla="*/ 106 w 484"/>
              <a:gd name="T31" fmla="*/ 227 h 368"/>
              <a:gd name="T32" fmla="*/ 91 w 484"/>
              <a:gd name="T33" fmla="*/ 112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4" h="368">
                <a:moveTo>
                  <a:pt x="50" y="259"/>
                </a:moveTo>
                <a:cubicBezTo>
                  <a:pt x="90" y="329"/>
                  <a:pt x="162" y="367"/>
                  <a:pt x="237" y="367"/>
                </a:cubicBezTo>
                <a:cubicBezTo>
                  <a:pt x="274" y="367"/>
                  <a:pt x="311" y="358"/>
                  <a:pt x="345" y="338"/>
                </a:cubicBezTo>
                <a:cubicBezTo>
                  <a:pt x="448" y="279"/>
                  <a:pt x="483" y="147"/>
                  <a:pt x="424" y="43"/>
                </a:cubicBezTo>
                <a:cubicBezTo>
                  <a:pt x="414" y="27"/>
                  <a:pt x="403" y="13"/>
                  <a:pt x="391" y="0"/>
                </a:cubicBezTo>
                <a:lnTo>
                  <a:pt x="83" y="0"/>
                </a:lnTo>
                <a:cubicBezTo>
                  <a:pt x="16" y="67"/>
                  <a:pt x="0" y="173"/>
                  <a:pt x="50" y="259"/>
                </a:cubicBezTo>
                <a:close/>
                <a:moveTo>
                  <a:pt x="91" y="112"/>
                </a:moveTo>
                <a:cubicBezTo>
                  <a:pt x="102" y="73"/>
                  <a:pt x="127" y="41"/>
                  <a:pt x="161" y="21"/>
                </a:cubicBezTo>
                <a:cubicBezTo>
                  <a:pt x="184" y="8"/>
                  <a:pt x="210" y="1"/>
                  <a:pt x="237" y="1"/>
                </a:cubicBezTo>
                <a:lnTo>
                  <a:pt x="237" y="1"/>
                </a:lnTo>
                <a:cubicBezTo>
                  <a:pt x="290" y="1"/>
                  <a:pt x="340" y="30"/>
                  <a:pt x="367" y="76"/>
                </a:cubicBezTo>
                <a:cubicBezTo>
                  <a:pt x="387" y="111"/>
                  <a:pt x="393" y="151"/>
                  <a:pt x="382" y="190"/>
                </a:cubicBezTo>
                <a:cubicBezTo>
                  <a:pt x="372" y="229"/>
                  <a:pt x="347" y="262"/>
                  <a:pt x="312" y="282"/>
                </a:cubicBezTo>
                <a:cubicBezTo>
                  <a:pt x="289" y="295"/>
                  <a:pt x="263" y="302"/>
                  <a:pt x="237" y="302"/>
                </a:cubicBezTo>
                <a:cubicBezTo>
                  <a:pt x="183" y="302"/>
                  <a:pt x="133" y="273"/>
                  <a:pt x="106" y="227"/>
                </a:cubicBezTo>
                <a:cubicBezTo>
                  <a:pt x="86" y="192"/>
                  <a:pt x="81" y="151"/>
                  <a:pt x="91" y="112"/>
                </a:cubicBezTo>
                <a:close/>
              </a:path>
            </a:pathLst>
          </a:custGeom>
          <a:solidFill>
            <a:schemeClr val="accent3"/>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3" name="Freeform 130">
            <a:extLst>
              <a:ext uri="{FF2B5EF4-FFF2-40B4-BE49-F238E27FC236}">
                <a16:creationId xmlns:a16="http://schemas.microsoft.com/office/drawing/2014/main" id="{AAF2A540-04E2-454F-B889-3C5BEE459FD9}"/>
              </a:ext>
            </a:extLst>
          </p:cNvPr>
          <p:cNvSpPr>
            <a:spLocks noChangeArrowheads="1"/>
          </p:cNvSpPr>
          <p:nvPr/>
        </p:nvSpPr>
        <p:spPr bwMode="auto">
          <a:xfrm>
            <a:off x="5918274" y="5213380"/>
            <a:ext cx="3856336" cy="1644620"/>
          </a:xfrm>
          <a:custGeom>
            <a:avLst/>
            <a:gdLst>
              <a:gd name="T0" fmla="*/ 851 w 898"/>
              <a:gd name="T1" fmla="*/ 139 h 382"/>
              <a:gd name="T2" fmla="*/ 556 w 898"/>
              <a:gd name="T3" fmla="*/ 60 h 382"/>
              <a:gd name="T4" fmla="*/ 0 w 898"/>
              <a:gd name="T5" fmla="*/ 381 h 382"/>
              <a:gd name="T6" fmla="*/ 833 w 898"/>
              <a:gd name="T7" fmla="*/ 381 h 382"/>
              <a:gd name="T8" fmla="*/ 851 w 898"/>
              <a:gd name="T9" fmla="*/ 139 h 382"/>
            </a:gdLst>
            <a:ahLst/>
            <a:cxnLst>
              <a:cxn ang="0">
                <a:pos x="T0" y="T1"/>
              </a:cxn>
              <a:cxn ang="0">
                <a:pos x="T2" y="T3"/>
              </a:cxn>
              <a:cxn ang="0">
                <a:pos x="T4" y="T5"/>
              </a:cxn>
              <a:cxn ang="0">
                <a:pos x="T6" y="T7"/>
              </a:cxn>
              <a:cxn ang="0">
                <a:pos x="T8" y="T9"/>
              </a:cxn>
            </a:cxnLst>
            <a:rect l="0" t="0" r="r" b="b"/>
            <a:pathLst>
              <a:path w="898" h="382">
                <a:moveTo>
                  <a:pt x="851" y="139"/>
                </a:moveTo>
                <a:cubicBezTo>
                  <a:pt x="791" y="35"/>
                  <a:pt x="659" y="0"/>
                  <a:pt x="556" y="60"/>
                </a:cubicBezTo>
                <a:lnTo>
                  <a:pt x="0" y="381"/>
                </a:lnTo>
                <a:lnTo>
                  <a:pt x="833" y="381"/>
                </a:lnTo>
                <a:cubicBezTo>
                  <a:pt x="887" y="314"/>
                  <a:pt x="897" y="218"/>
                  <a:pt x="851" y="139"/>
                </a:cubicBezTo>
              </a:path>
            </a:pathLst>
          </a:custGeom>
          <a:solidFill>
            <a:srgbClr val="00E6C7">
              <a:alpha val="40000"/>
            </a:srgb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a:p>
        </p:txBody>
      </p:sp>
      <p:sp>
        <p:nvSpPr>
          <p:cNvPr id="14" name="Title 1">
            <a:extLst>
              <a:ext uri="{FF2B5EF4-FFF2-40B4-BE49-F238E27FC236}">
                <a16:creationId xmlns:a16="http://schemas.microsoft.com/office/drawing/2014/main" id="{ED878C1E-6FBA-4C79-A678-CC522AB6304C}"/>
              </a:ext>
            </a:extLst>
          </p:cNvPr>
          <p:cNvSpPr>
            <a:spLocks noGrp="1"/>
          </p:cNvSpPr>
          <p:nvPr userDrawn="1">
            <p:ph type="title"/>
          </p:nvPr>
        </p:nvSpPr>
        <p:spPr>
          <a:xfrm>
            <a:off x="442913" y="1376363"/>
            <a:ext cx="4038687" cy="3245879"/>
          </a:xfrm>
        </p:spPr>
        <p:txBody>
          <a:bodyPr vert="horz" lIns="0" tIns="0" rIns="0" bIns="0" rtlCol="0" anchor="t" anchorCtr="0">
            <a:normAutofit/>
          </a:bodyPr>
          <a:lstStyle>
            <a:lvl1pPr marL="0" indent="0">
              <a:buFont typeface="Arial" panose="020B0604020202020204" pitchFamily="34" charset="0"/>
              <a:buNone/>
              <a:defRPr lang="en-GB" sz="5400" dirty="0"/>
            </a:lvl1pPr>
          </a:lstStyle>
          <a:p>
            <a:pPr lvl="0"/>
            <a:r>
              <a:rPr lang="en-US" dirty="0"/>
              <a:t>Click to edit Master title style</a:t>
            </a:r>
            <a:endParaRPr lang="en-GB" dirty="0"/>
          </a:p>
        </p:txBody>
      </p:sp>
      <p:sp>
        <p:nvSpPr>
          <p:cNvPr id="15" name="Text Placeholder 2">
            <a:extLst>
              <a:ext uri="{FF2B5EF4-FFF2-40B4-BE49-F238E27FC236}">
                <a16:creationId xmlns:a16="http://schemas.microsoft.com/office/drawing/2014/main" id="{1954511D-8D7B-47B9-BEAF-9346F271E02D}"/>
              </a:ext>
            </a:extLst>
          </p:cNvPr>
          <p:cNvSpPr>
            <a:spLocks noGrp="1"/>
          </p:cNvSpPr>
          <p:nvPr userDrawn="1">
            <p:ph type="body" idx="1"/>
          </p:nvPr>
        </p:nvSpPr>
        <p:spPr>
          <a:xfrm>
            <a:off x="442913" y="444440"/>
            <a:ext cx="4038687" cy="931923"/>
          </a:xfrm>
        </p:spPr>
        <p:txBody>
          <a:bodyPr vert="horz" lIns="0" tIns="0" rIns="0" bIns="0" rtlCol="0" anchor="t" anchorCtr="0">
            <a:normAutofit/>
          </a:bodyPr>
          <a:lstStyle>
            <a:lvl1pPr marL="0" indent="0">
              <a:buNone/>
              <a:defRPr lang="en-US" sz="2800" smtClean="0">
                <a:solidFill>
                  <a:schemeClr val="accent2"/>
                </a:solidFill>
              </a:defRPr>
            </a:lvl1pPr>
          </a:lstStyle>
          <a:p>
            <a:pPr marL="228600" lvl="0" indent="-228600">
              <a:spcAft>
                <a:spcPts val="0"/>
              </a:spcAft>
            </a:pPr>
            <a:r>
              <a:rPr lang="en-US" dirty="0"/>
              <a:t>Click to edit Master text styles</a:t>
            </a:r>
          </a:p>
        </p:txBody>
      </p:sp>
      <p:sp>
        <p:nvSpPr>
          <p:cNvPr id="23" name="Rechthoek 2">
            <a:extLst>
              <a:ext uri="{FF2B5EF4-FFF2-40B4-BE49-F238E27FC236}">
                <a16:creationId xmlns:a16="http://schemas.microsoft.com/office/drawing/2014/main" id="{5B8D2174-8309-5E47-8CAE-0A6923F33276}"/>
              </a:ext>
            </a:extLst>
          </p:cNvPr>
          <p:cNvSpPr/>
          <p:nvPr userDrawn="1"/>
        </p:nvSpPr>
        <p:spPr>
          <a:xfrm>
            <a:off x="10002839" y="143250"/>
            <a:ext cx="1633781"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accent4"/>
                </a:solidFill>
                <a:effectLst/>
                <a:uLnTx/>
                <a:uFillTx/>
                <a:latin typeface="+mn-lt"/>
                <a:ea typeface="+mn-ea"/>
                <a:cs typeface="+mn-cs"/>
              </a:rPr>
              <a:t>Colt confidential</a:t>
            </a:r>
          </a:p>
        </p:txBody>
      </p:sp>
    </p:spTree>
    <p:extLst>
      <p:ext uri="{BB962C8B-B14F-4D97-AF65-F5344CB8AC3E}">
        <p14:creationId xmlns:p14="http://schemas.microsoft.com/office/powerpoint/2010/main" val="2690174276"/>
      </p:ext>
    </p:extLst>
  </p:cSld>
  <p:clrMapOvr>
    <a:masterClrMapping/>
  </p:clrMapOvr>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_Call-out + image v3a">
    <p:spTree>
      <p:nvGrpSpPr>
        <p:cNvPr id="1" name=""/>
        <p:cNvGrpSpPr/>
        <p:nvPr/>
      </p:nvGrpSpPr>
      <p:grpSpPr>
        <a:xfrm>
          <a:off x="0" y="0"/>
          <a:ext cx="0" cy="0"/>
          <a:chOff x="0" y="0"/>
          <a:chExt cx="0" cy="0"/>
        </a:xfrm>
      </p:grpSpPr>
      <p:sp>
        <p:nvSpPr>
          <p:cNvPr id="21" name="Picture Placeholder 3">
            <a:extLst>
              <a:ext uri="{FF2B5EF4-FFF2-40B4-BE49-F238E27FC236}">
                <a16:creationId xmlns:a16="http://schemas.microsoft.com/office/drawing/2014/main" id="{359688DA-B1B4-4DDB-AC4A-B8038A462122}"/>
              </a:ext>
            </a:extLst>
          </p:cNvPr>
          <p:cNvSpPr>
            <a:spLocks noGrp="1"/>
          </p:cNvSpPr>
          <p:nvPr>
            <p:ph type="pic" sz="quarter" idx="16"/>
          </p:nvPr>
        </p:nvSpPr>
        <p:spPr>
          <a:xfrm>
            <a:off x="5774400" y="457200"/>
            <a:ext cx="5974688" cy="5943600"/>
          </a:xfrm>
          <a:prstGeom prst="ellipse">
            <a:avLst/>
          </a:prstGeom>
          <a:solidFill>
            <a:schemeClr val="accent1">
              <a:alpha val="15000"/>
            </a:schemeClr>
          </a:solidFill>
        </p:spPr>
        <p:txBody>
          <a:bodyPr/>
          <a:lstStyle>
            <a:lvl1pPr marL="0" indent="0" algn="ctr">
              <a:buNone/>
              <a:defRPr>
                <a:solidFill>
                  <a:schemeClr val="accent2"/>
                </a:solidFill>
              </a:defRPr>
            </a:lvl1pPr>
          </a:lstStyle>
          <a:p>
            <a:r>
              <a:rPr lang="en-US"/>
              <a:t>Click icon to add picture</a:t>
            </a:r>
            <a:endParaRPr lang="en-GB"/>
          </a:p>
        </p:txBody>
      </p:sp>
      <p:sp>
        <p:nvSpPr>
          <p:cNvPr id="7" name="Slide Number Placeholder 6">
            <a:extLst>
              <a:ext uri="{FF2B5EF4-FFF2-40B4-BE49-F238E27FC236}">
                <a16:creationId xmlns:a16="http://schemas.microsoft.com/office/drawing/2014/main" id="{083AA513-3096-463D-86CC-9463654915BB}"/>
              </a:ext>
            </a:extLst>
          </p:cNvPr>
          <p:cNvSpPr>
            <a:spLocks noGrp="1"/>
          </p:cNvSpPr>
          <p:nvPr>
            <p:ph type="sldNum" sz="quarter" idx="14"/>
          </p:nvPr>
        </p:nvSpPr>
        <p:spPr>
          <a:xfrm>
            <a:off x="11278800" y="6400800"/>
            <a:ext cx="442800" cy="226800"/>
          </a:xfrm>
          <a:prstGeom prst="rect">
            <a:avLst/>
          </a:prstGeom>
        </p:spPr>
        <p:txBody>
          <a:bodyPr/>
          <a:lstStyle/>
          <a:p>
            <a:pPr algn="r">
              <a:lnSpc>
                <a:spcPts val="970"/>
              </a:lnSpc>
            </a:pPr>
            <a:fld id="{0B868178-02AE-42FC-958D-6B8F13B60175}" type="slidenum">
              <a:rPr lang="en-GB" smtClean="0"/>
              <a:pPr algn="r">
                <a:lnSpc>
                  <a:spcPts val="970"/>
                </a:lnSpc>
              </a:pPr>
              <a:t>‹#›</a:t>
            </a:fld>
            <a:endParaRPr lang="en-GB" sz="800" noProof="0">
              <a:solidFill>
                <a:schemeClr val="bg1"/>
              </a:solidFill>
            </a:endParaRPr>
          </a:p>
        </p:txBody>
      </p:sp>
      <p:sp>
        <p:nvSpPr>
          <p:cNvPr id="14" name="Title 1">
            <a:extLst>
              <a:ext uri="{FF2B5EF4-FFF2-40B4-BE49-F238E27FC236}">
                <a16:creationId xmlns:a16="http://schemas.microsoft.com/office/drawing/2014/main" id="{ED878C1E-6FBA-4C79-A678-CC522AB6304C}"/>
              </a:ext>
            </a:extLst>
          </p:cNvPr>
          <p:cNvSpPr>
            <a:spLocks noGrp="1"/>
          </p:cNvSpPr>
          <p:nvPr>
            <p:ph type="title"/>
          </p:nvPr>
        </p:nvSpPr>
        <p:spPr>
          <a:xfrm>
            <a:off x="442913" y="1376363"/>
            <a:ext cx="4038687" cy="3245879"/>
          </a:xfrm>
        </p:spPr>
        <p:txBody>
          <a:bodyPr vert="horz" lIns="0" tIns="0" rIns="0" bIns="0" rtlCol="0" anchor="t" anchorCtr="0">
            <a:normAutofit/>
          </a:bodyPr>
          <a:lstStyle>
            <a:lvl1pPr marL="0" indent="0">
              <a:buFont typeface="Arial" panose="020B0604020202020204" pitchFamily="34" charset="0"/>
              <a:buNone/>
              <a:defRPr lang="en-GB" sz="5400" dirty="0"/>
            </a:lvl1pPr>
          </a:lstStyle>
          <a:p>
            <a:pPr lvl="0"/>
            <a:r>
              <a:rPr lang="en-US" dirty="0"/>
              <a:t>Click to edit Master title style</a:t>
            </a:r>
            <a:endParaRPr lang="en-GB" dirty="0"/>
          </a:p>
        </p:txBody>
      </p:sp>
      <p:sp>
        <p:nvSpPr>
          <p:cNvPr id="15" name="Text Placeholder 2">
            <a:extLst>
              <a:ext uri="{FF2B5EF4-FFF2-40B4-BE49-F238E27FC236}">
                <a16:creationId xmlns:a16="http://schemas.microsoft.com/office/drawing/2014/main" id="{1954511D-8D7B-47B9-BEAF-9346F271E02D}"/>
              </a:ext>
            </a:extLst>
          </p:cNvPr>
          <p:cNvSpPr>
            <a:spLocks noGrp="1"/>
          </p:cNvSpPr>
          <p:nvPr>
            <p:ph type="body" idx="1"/>
          </p:nvPr>
        </p:nvSpPr>
        <p:spPr>
          <a:xfrm>
            <a:off x="442913" y="444440"/>
            <a:ext cx="4038687" cy="931923"/>
          </a:xfrm>
        </p:spPr>
        <p:txBody>
          <a:bodyPr vert="horz" lIns="0" tIns="0" rIns="0" bIns="0" rtlCol="0" anchor="t" anchorCtr="0">
            <a:normAutofit/>
          </a:bodyPr>
          <a:lstStyle>
            <a:lvl1pPr marL="0" indent="0">
              <a:buNone/>
              <a:defRPr lang="en-US" sz="2800" smtClean="0">
                <a:solidFill>
                  <a:schemeClr val="accent2"/>
                </a:solidFill>
              </a:defRPr>
            </a:lvl1pPr>
          </a:lstStyle>
          <a:p>
            <a:pPr marL="228600" lvl="0" indent="-228600">
              <a:spcAft>
                <a:spcPts val="0"/>
              </a:spcAft>
            </a:pPr>
            <a:r>
              <a:rPr lang="en-US" dirty="0"/>
              <a:t>Click to edit Master text styles</a:t>
            </a:r>
          </a:p>
        </p:txBody>
      </p:sp>
      <p:sp>
        <p:nvSpPr>
          <p:cNvPr id="18" name="Freeform 128">
            <a:extLst>
              <a:ext uri="{FF2B5EF4-FFF2-40B4-BE49-F238E27FC236}">
                <a16:creationId xmlns:a16="http://schemas.microsoft.com/office/drawing/2014/main" id="{CE295A9A-F92C-4761-AAD6-4B1B875F0FD1}"/>
              </a:ext>
            </a:extLst>
          </p:cNvPr>
          <p:cNvSpPr>
            <a:spLocks noChangeArrowheads="1"/>
          </p:cNvSpPr>
          <p:nvPr/>
        </p:nvSpPr>
        <p:spPr bwMode="auto">
          <a:xfrm>
            <a:off x="11100115" y="3395569"/>
            <a:ext cx="1091885" cy="1863730"/>
          </a:xfrm>
          <a:custGeom>
            <a:avLst/>
            <a:gdLst>
              <a:gd name="T0" fmla="*/ 139 w 257"/>
              <a:gd name="T1" fmla="*/ 31 h 438"/>
              <a:gd name="T2" fmla="*/ 59 w 257"/>
              <a:gd name="T3" fmla="*/ 326 h 438"/>
              <a:gd name="T4" fmla="*/ 256 w 257"/>
              <a:gd name="T5" fmla="*/ 433 h 438"/>
              <a:gd name="T6" fmla="*/ 256 w 257"/>
              <a:gd name="T7" fmla="*/ 2 h 438"/>
              <a:gd name="T8" fmla="*/ 139 w 257"/>
              <a:gd name="T9" fmla="*/ 31 h 438"/>
            </a:gdLst>
            <a:ahLst/>
            <a:cxnLst>
              <a:cxn ang="0">
                <a:pos x="T0" y="T1"/>
              </a:cxn>
              <a:cxn ang="0">
                <a:pos x="T2" y="T3"/>
              </a:cxn>
              <a:cxn ang="0">
                <a:pos x="T4" y="T5"/>
              </a:cxn>
              <a:cxn ang="0">
                <a:pos x="T6" y="T7"/>
              </a:cxn>
              <a:cxn ang="0">
                <a:pos x="T8" y="T9"/>
              </a:cxn>
            </a:cxnLst>
            <a:rect l="0" t="0" r="r" b="b"/>
            <a:pathLst>
              <a:path w="257" h="438">
                <a:moveTo>
                  <a:pt x="139" y="31"/>
                </a:moveTo>
                <a:cubicBezTo>
                  <a:pt x="35" y="90"/>
                  <a:pt x="0" y="222"/>
                  <a:pt x="59" y="326"/>
                </a:cubicBezTo>
                <a:cubicBezTo>
                  <a:pt x="101" y="398"/>
                  <a:pt x="178" y="437"/>
                  <a:pt x="256" y="433"/>
                </a:cubicBezTo>
                <a:lnTo>
                  <a:pt x="256" y="2"/>
                </a:lnTo>
                <a:cubicBezTo>
                  <a:pt x="217" y="0"/>
                  <a:pt x="176" y="9"/>
                  <a:pt x="139" y="31"/>
                </a:cubicBezTo>
              </a:path>
            </a:pathLst>
          </a:custGeom>
          <a:solidFill>
            <a:schemeClr val="accent4">
              <a:alpha val="7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9" name="Freeform 129">
            <a:extLst>
              <a:ext uri="{FF2B5EF4-FFF2-40B4-BE49-F238E27FC236}">
                <a16:creationId xmlns:a16="http://schemas.microsoft.com/office/drawing/2014/main" id="{F2C31331-5F0B-42EC-8EB9-C13D6A055521}"/>
              </a:ext>
            </a:extLst>
          </p:cNvPr>
          <p:cNvSpPr>
            <a:spLocks noChangeArrowheads="1"/>
          </p:cNvSpPr>
          <p:nvPr/>
        </p:nvSpPr>
        <p:spPr bwMode="auto">
          <a:xfrm>
            <a:off x="4492916" y="0"/>
            <a:ext cx="2070817" cy="1562532"/>
          </a:xfrm>
          <a:custGeom>
            <a:avLst/>
            <a:gdLst>
              <a:gd name="T0" fmla="*/ 50 w 484"/>
              <a:gd name="T1" fmla="*/ 259 h 368"/>
              <a:gd name="T2" fmla="*/ 237 w 484"/>
              <a:gd name="T3" fmla="*/ 367 h 368"/>
              <a:gd name="T4" fmla="*/ 345 w 484"/>
              <a:gd name="T5" fmla="*/ 338 h 368"/>
              <a:gd name="T6" fmla="*/ 424 w 484"/>
              <a:gd name="T7" fmla="*/ 43 h 368"/>
              <a:gd name="T8" fmla="*/ 391 w 484"/>
              <a:gd name="T9" fmla="*/ 0 h 368"/>
              <a:gd name="T10" fmla="*/ 83 w 484"/>
              <a:gd name="T11" fmla="*/ 0 h 368"/>
              <a:gd name="T12" fmla="*/ 50 w 484"/>
              <a:gd name="T13" fmla="*/ 259 h 368"/>
              <a:gd name="T14" fmla="*/ 91 w 484"/>
              <a:gd name="T15" fmla="*/ 112 h 368"/>
              <a:gd name="T16" fmla="*/ 161 w 484"/>
              <a:gd name="T17" fmla="*/ 21 h 368"/>
              <a:gd name="T18" fmla="*/ 237 w 484"/>
              <a:gd name="T19" fmla="*/ 1 h 368"/>
              <a:gd name="T20" fmla="*/ 237 w 484"/>
              <a:gd name="T21" fmla="*/ 1 h 368"/>
              <a:gd name="T22" fmla="*/ 367 w 484"/>
              <a:gd name="T23" fmla="*/ 76 h 368"/>
              <a:gd name="T24" fmla="*/ 382 w 484"/>
              <a:gd name="T25" fmla="*/ 190 h 368"/>
              <a:gd name="T26" fmla="*/ 312 w 484"/>
              <a:gd name="T27" fmla="*/ 282 h 368"/>
              <a:gd name="T28" fmla="*/ 237 w 484"/>
              <a:gd name="T29" fmla="*/ 302 h 368"/>
              <a:gd name="T30" fmla="*/ 106 w 484"/>
              <a:gd name="T31" fmla="*/ 227 h 368"/>
              <a:gd name="T32" fmla="*/ 91 w 484"/>
              <a:gd name="T33" fmla="*/ 112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4" h="368">
                <a:moveTo>
                  <a:pt x="50" y="259"/>
                </a:moveTo>
                <a:cubicBezTo>
                  <a:pt x="90" y="329"/>
                  <a:pt x="162" y="367"/>
                  <a:pt x="237" y="367"/>
                </a:cubicBezTo>
                <a:cubicBezTo>
                  <a:pt x="274" y="367"/>
                  <a:pt x="311" y="358"/>
                  <a:pt x="345" y="338"/>
                </a:cubicBezTo>
                <a:cubicBezTo>
                  <a:pt x="448" y="279"/>
                  <a:pt x="483" y="147"/>
                  <a:pt x="424" y="43"/>
                </a:cubicBezTo>
                <a:cubicBezTo>
                  <a:pt x="414" y="27"/>
                  <a:pt x="403" y="13"/>
                  <a:pt x="391" y="0"/>
                </a:cubicBezTo>
                <a:lnTo>
                  <a:pt x="83" y="0"/>
                </a:lnTo>
                <a:cubicBezTo>
                  <a:pt x="16" y="67"/>
                  <a:pt x="0" y="173"/>
                  <a:pt x="50" y="259"/>
                </a:cubicBezTo>
                <a:close/>
                <a:moveTo>
                  <a:pt x="91" y="112"/>
                </a:moveTo>
                <a:cubicBezTo>
                  <a:pt x="102" y="73"/>
                  <a:pt x="127" y="41"/>
                  <a:pt x="161" y="21"/>
                </a:cubicBezTo>
                <a:cubicBezTo>
                  <a:pt x="184" y="8"/>
                  <a:pt x="210" y="1"/>
                  <a:pt x="237" y="1"/>
                </a:cubicBezTo>
                <a:lnTo>
                  <a:pt x="237" y="1"/>
                </a:lnTo>
                <a:cubicBezTo>
                  <a:pt x="290" y="1"/>
                  <a:pt x="340" y="30"/>
                  <a:pt x="367" y="76"/>
                </a:cubicBezTo>
                <a:cubicBezTo>
                  <a:pt x="387" y="111"/>
                  <a:pt x="393" y="151"/>
                  <a:pt x="382" y="190"/>
                </a:cubicBezTo>
                <a:cubicBezTo>
                  <a:pt x="372" y="229"/>
                  <a:pt x="347" y="262"/>
                  <a:pt x="312" y="282"/>
                </a:cubicBezTo>
                <a:cubicBezTo>
                  <a:pt x="289" y="295"/>
                  <a:pt x="263" y="302"/>
                  <a:pt x="237" y="302"/>
                </a:cubicBezTo>
                <a:cubicBezTo>
                  <a:pt x="183" y="302"/>
                  <a:pt x="133" y="273"/>
                  <a:pt x="106" y="227"/>
                </a:cubicBezTo>
                <a:cubicBezTo>
                  <a:pt x="86" y="192"/>
                  <a:pt x="81" y="151"/>
                  <a:pt x="91" y="112"/>
                </a:cubicBezTo>
                <a:close/>
              </a:path>
            </a:pathLst>
          </a:custGeom>
          <a:solidFill>
            <a:schemeClr val="accent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20" name="Freeform 130">
            <a:extLst>
              <a:ext uri="{FF2B5EF4-FFF2-40B4-BE49-F238E27FC236}">
                <a16:creationId xmlns:a16="http://schemas.microsoft.com/office/drawing/2014/main" id="{4476D3D8-F118-4988-A37C-3E372C844E57}"/>
              </a:ext>
            </a:extLst>
          </p:cNvPr>
          <p:cNvSpPr>
            <a:spLocks noChangeArrowheads="1"/>
          </p:cNvSpPr>
          <p:nvPr/>
        </p:nvSpPr>
        <p:spPr bwMode="auto">
          <a:xfrm>
            <a:off x="5923662" y="5220166"/>
            <a:ext cx="3840425" cy="1637834"/>
          </a:xfrm>
          <a:custGeom>
            <a:avLst/>
            <a:gdLst>
              <a:gd name="T0" fmla="*/ 851 w 898"/>
              <a:gd name="T1" fmla="*/ 139 h 382"/>
              <a:gd name="T2" fmla="*/ 556 w 898"/>
              <a:gd name="T3" fmla="*/ 60 h 382"/>
              <a:gd name="T4" fmla="*/ 0 w 898"/>
              <a:gd name="T5" fmla="*/ 381 h 382"/>
              <a:gd name="T6" fmla="*/ 833 w 898"/>
              <a:gd name="T7" fmla="*/ 381 h 382"/>
              <a:gd name="T8" fmla="*/ 851 w 898"/>
              <a:gd name="T9" fmla="*/ 139 h 382"/>
            </a:gdLst>
            <a:ahLst/>
            <a:cxnLst>
              <a:cxn ang="0">
                <a:pos x="T0" y="T1"/>
              </a:cxn>
              <a:cxn ang="0">
                <a:pos x="T2" y="T3"/>
              </a:cxn>
              <a:cxn ang="0">
                <a:pos x="T4" y="T5"/>
              </a:cxn>
              <a:cxn ang="0">
                <a:pos x="T6" y="T7"/>
              </a:cxn>
              <a:cxn ang="0">
                <a:pos x="T8" y="T9"/>
              </a:cxn>
            </a:cxnLst>
            <a:rect l="0" t="0" r="r" b="b"/>
            <a:pathLst>
              <a:path w="898" h="382">
                <a:moveTo>
                  <a:pt x="851" y="139"/>
                </a:moveTo>
                <a:cubicBezTo>
                  <a:pt x="791" y="35"/>
                  <a:pt x="659" y="0"/>
                  <a:pt x="556" y="60"/>
                </a:cubicBezTo>
                <a:lnTo>
                  <a:pt x="0" y="381"/>
                </a:lnTo>
                <a:lnTo>
                  <a:pt x="833" y="381"/>
                </a:lnTo>
                <a:cubicBezTo>
                  <a:pt x="887" y="314"/>
                  <a:pt x="897" y="218"/>
                  <a:pt x="851" y="139"/>
                </a:cubicBezTo>
              </a:path>
            </a:pathLst>
          </a:custGeom>
          <a:solidFill>
            <a:schemeClr val="accent4">
              <a:alpha val="4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Tree>
    <p:extLst>
      <p:ext uri="{BB962C8B-B14F-4D97-AF65-F5344CB8AC3E}">
        <p14:creationId xmlns:p14="http://schemas.microsoft.com/office/powerpoint/2010/main" val="3522257976"/>
      </p:ext>
    </p:extLst>
  </p:cSld>
  <p:clrMapOvr>
    <a:masterClrMapping/>
  </p:clrMapOvr>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Call-out + image v3a">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15DF92D7-6BDD-774C-AB00-7080B64F6DDF}"/>
              </a:ext>
            </a:extLst>
          </p:cNvPr>
          <p:cNvPicPr>
            <a:picLocks noChangeAspect="1"/>
          </p:cNvPicPr>
          <p:nvPr userDrawn="1"/>
        </p:nvPicPr>
        <p:blipFill>
          <a:blip r:embed="rId2"/>
          <a:stretch>
            <a:fillRect/>
          </a:stretch>
        </p:blipFill>
        <p:spPr>
          <a:xfrm>
            <a:off x="5572400" y="457200"/>
            <a:ext cx="5943600" cy="5943600"/>
          </a:xfrm>
          <a:prstGeom prst="rect">
            <a:avLst/>
          </a:prstGeom>
        </p:spPr>
      </p:pic>
      <p:sp>
        <p:nvSpPr>
          <p:cNvPr id="7" name="Slide Number Placeholder 6">
            <a:extLst>
              <a:ext uri="{FF2B5EF4-FFF2-40B4-BE49-F238E27FC236}">
                <a16:creationId xmlns:a16="http://schemas.microsoft.com/office/drawing/2014/main" id="{083AA513-3096-463D-86CC-9463654915BB}"/>
              </a:ext>
            </a:extLst>
          </p:cNvPr>
          <p:cNvSpPr>
            <a:spLocks noGrp="1"/>
          </p:cNvSpPr>
          <p:nvPr>
            <p:ph type="sldNum" sz="quarter" idx="14"/>
          </p:nvPr>
        </p:nvSpPr>
        <p:spPr>
          <a:xfrm>
            <a:off x="11278800" y="6400800"/>
            <a:ext cx="442800" cy="226800"/>
          </a:xfrm>
          <a:prstGeom prst="rect">
            <a:avLst/>
          </a:prstGeom>
        </p:spPr>
        <p:txBody>
          <a:bodyPr/>
          <a:lstStyle/>
          <a:p>
            <a:pPr algn="r">
              <a:lnSpc>
                <a:spcPts val="970"/>
              </a:lnSpc>
            </a:pPr>
            <a:fld id="{0B868178-02AE-42FC-958D-6B8F13B60175}" type="slidenum">
              <a:rPr lang="en-GB" smtClean="0"/>
              <a:pPr algn="r">
                <a:lnSpc>
                  <a:spcPts val="970"/>
                </a:lnSpc>
              </a:pPr>
              <a:t>‹#›</a:t>
            </a:fld>
            <a:endParaRPr lang="en-GB" sz="800" noProof="0">
              <a:solidFill>
                <a:schemeClr val="bg1"/>
              </a:solidFill>
            </a:endParaRPr>
          </a:p>
        </p:txBody>
      </p:sp>
      <p:sp>
        <p:nvSpPr>
          <p:cNvPr id="14" name="Title 1">
            <a:extLst>
              <a:ext uri="{FF2B5EF4-FFF2-40B4-BE49-F238E27FC236}">
                <a16:creationId xmlns:a16="http://schemas.microsoft.com/office/drawing/2014/main" id="{ED878C1E-6FBA-4C79-A678-CC522AB6304C}"/>
              </a:ext>
            </a:extLst>
          </p:cNvPr>
          <p:cNvSpPr>
            <a:spLocks noGrp="1"/>
          </p:cNvSpPr>
          <p:nvPr>
            <p:ph type="title"/>
          </p:nvPr>
        </p:nvSpPr>
        <p:spPr>
          <a:xfrm>
            <a:off x="442913" y="1376363"/>
            <a:ext cx="4038687" cy="3245879"/>
          </a:xfrm>
        </p:spPr>
        <p:txBody>
          <a:bodyPr vert="horz" lIns="0" tIns="0" rIns="0" bIns="0" rtlCol="0" anchor="t" anchorCtr="0">
            <a:normAutofit/>
          </a:bodyPr>
          <a:lstStyle>
            <a:lvl1pPr marL="0" indent="0">
              <a:buFont typeface="Arial" panose="020B0604020202020204" pitchFamily="34" charset="0"/>
              <a:buNone/>
              <a:defRPr lang="en-GB" sz="5400" dirty="0"/>
            </a:lvl1pPr>
          </a:lstStyle>
          <a:p>
            <a:pPr lvl="0"/>
            <a:r>
              <a:rPr lang="en-US" dirty="0"/>
              <a:t>Click to edit Master title style</a:t>
            </a:r>
            <a:endParaRPr lang="en-GB" dirty="0"/>
          </a:p>
        </p:txBody>
      </p:sp>
      <p:sp>
        <p:nvSpPr>
          <p:cNvPr id="15" name="Text Placeholder 2">
            <a:extLst>
              <a:ext uri="{FF2B5EF4-FFF2-40B4-BE49-F238E27FC236}">
                <a16:creationId xmlns:a16="http://schemas.microsoft.com/office/drawing/2014/main" id="{1954511D-8D7B-47B9-BEAF-9346F271E02D}"/>
              </a:ext>
            </a:extLst>
          </p:cNvPr>
          <p:cNvSpPr>
            <a:spLocks noGrp="1"/>
          </p:cNvSpPr>
          <p:nvPr>
            <p:ph type="body" idx="1"/>
          </p:nvPr>
        </p:nvSpPr>
        <p:spPr>
          <a:xfrm>
            <a:off x="442913" y="444440"/>
            <a:ext cx="4038687" cy="931923"/>
          </a:xfrm>
        </p:spPr>
        <p:txBody>
          <a:bodyPr vert="horz" lIns="0" tIns="0" rIns="0" bIns="0" rtlCol="0" anchor="t" anchorCtr="0">
            <a:normAutofit/>
          </a:bodyPr>
          <a:lstStyle>
            <a:lvl1pPr marL="0" indent="0">
              <a:buNone/>
              <a:defRPr lang="en-US" sz="2800" smtClean="0">
                <a:solidFill>
                  <a:schemeClr val="accent2"/>
                </a:solidFill>
              </a:defRPr>
            </a:lvl1pPr>
          </a:lstStyle>
          <a:p>
            <a:pPr marL="228600" lvl="0" indent="-228600">
              <a:spcAft>
                <a:spcPts val="0"/>
              </a:spcAft>
            </a:pPr>
            <a:r>
              <a:rPr lang="en-US" dirty="0"/>
              <a:t>Click to edit Master text styles</a:t>
            </a:r>
          </a:p>
        </p:txBody>
      </p:sp>
      <p:sp>
        <p:nvSpPr>
          <p:cNvPr id="18" name="Freeform 128">
            <a:extLst>
              <a:ext uri="{FF2B5EF4-FFF2-40B4-BE49-F238E27FC236}">
                <a16:creationId xmlns:a16="http://schemas.microsoft.com/office/drawing/2014/main" id="{CE295A9A-F92C-4761-AAD6-4B1B875F0FD1}"/>
              </a:ext>
            </a:extLst>
          </p:cNvPr>
          <p:cNvSpPr>
            <a:spLocks noChangeArrowheads="1"/>
          </p:cNvSpPr>
          <p:nvPr/>
        </p:nvSpPr>
        <p:spPr bwMode="auto">
          <a:xfrm>
            <a:off x="11100115" y="3395569"/>
            <a:ext cx="1091885" cy="1863730"/>
          </a:xfrm>
          <a:custGeom>
            <a:avLst/>
            <a:gdLst>
              <a:gd name="T0" fmla="*/ 139 w 257"/>
              <a:gd name="T1" fmla="*/ 31 h 438"/>
              <a:gd name="T2" fmla="*/ 59 w 257"/>
              <a:gd name="T3" fmla="*/ 326 h 438"/>
              <a:gd name="T4" fmla="*/ 256 w 257"/>
              <a:gd name="T5" fmla="*/ 433 h 438"/>
              <a:gd name="T6" fmla="*/ 256 w 257"/>
              <a:gd name="T7" fmla="*/ 2 h 438"/>
              <a:gd name="T8" fmla="*/ 139 w 257"/>
              <a:gd name="T9" fmla="*/ 31 h 438"/>
            </a:gdLst>
            <a:ahLst/>
            <a:cxnLst>
              <a:cxn ang="0">
                <a:pos x="T0" y="T1"/>
              </a:cxn>
              <a:cxn ang="0">
                <a:pos x="T2" y="T3"/>
              </a:cxn>
              <a:cxn ang="0">
                <a:pos x="T4" y="T5"/>
              </a:cxn>
              <a:cxn ang="0">
                <a:pos x="T6" y="T7"/>
              </a:cxn>
              <a:cxn ang="0">
                <a:pos x="T8" y="T9"/>
              </a:cxn>
            </a:cxnLst>
            <a:rect l="0" t="0" r="r" b="b"/>
            <a:pathLst>
              <a:path w="257" h="438">
                <a:moveTo>
                  <a:pt x="139" y="31"/>
                </a:moveTo>
                <a:cubicBezTo>
                  <a:pt x="35" y="90"/>
                  <a:pt x="0" y="222"/>
                  <a:pt x="59" y="326"/>
                </a:cubicBezTo>
                <a:cubicBezTo>
                  <a:pt x="101" y="398"/>
                  <a:pt x="178" y="437"/>
                  <a:pt x="256" y="433"/>
                </a:cubicBezTo>
                <a:lnTo>
                  <a:pt x="256" y="2"/>
                </a:lnTo>
                <a:cubicBezTo>
                  <a:pt x="217" y="0"/>
                  <a:pt x="176" y="9"/>
                  <a:pt x="139" y="31"/>
                </a:cubicBezTo>
              </a:path>
            </a:pathLst>
          </a:custGeom>
          <a:solidFill>
            <a:schemeClr val="accent5">
              <a:alpha val="70000"/>
            </a:schemeClr>
          </a:solidFill>
          <a:ln>
            <a:noFill/>
          </a:ln>
          <a:effectLst/>
        </p:spPr>
        <p:txBody>
          <a:bodyPr wrap="none" anchor="ctr"/>
          <a:lstStyle/>
          <a:p>
            <a:endParaRPr dirty="0"/>
          </a:p>
        </p:txBody>
      </p:sp>
      <p:sp>
        <p:nvSpPr>
          <p:cNvPr id="19" name="Freeform 129">
            <a:extLst>
              <a:ext uri="{FF2B5EF4-FFF2-40B4-BE49-F238E27FC236}">
                <a16:creationId xmlns:a16="http://schemas.microsoft.com/office/drawing/2014/main" id="{F2C31331-5F0B-42EC-8EB9-C13D6A055521}"/>
              </a:ext>
            </a:extLst>
          </p:cNvPr>
          <p:cNvSpPr>
            <a:spLocks noChangeArrowheads="1"/>
          </p:cNvSpPr>
          <p:nvPr/>
        </p:nvSpPr>
        <p:spPr bwMode="auto">
          <a:xfrm>
            <a:off x="4492916" y="0"/>
            <a:ext cx="2070817" cy="1562532"/>
          </a:xfrm>
          <a:custGeom>
            <a:avLst/>
            <a:gdLst>
              <a:gd name="T0" fmla="*/ 50 w 484"/>
              <a:gd name="T1" fmla="*/ 259 h 368"/>
              <a:gd name="T2" fmla="*/ 237 w 484"/>
              <a:gd name="T3" fmla="*/ 367 h 368"/>
              <a:gd name="T4" fmla="*/ 345 w 484"/>
              <a:gd name="T5" fmla="*/ 338 h 368"/>
              <a:gd name="T6" fmla="*/ 424 w 484"/>
              <a:gd name="T7" fmla="*/ 43 h 368"/>
              <a:gd name="T8" fmla="*/ 391 w 484"/>
              <a:gd name="T9" fmla="*/ 0 h 368"/>
              <a:gd name="T10" fmla="*/ 83 w 484"/>
              <a:gd name="T11" fmla="*/ 0 h 368"/>
              <a:gd name="T12" fmla="*/ 50 w 484"/>
              <a:gd name="T13" fmla="*/ 259 h 368"/>
              <a:gd name="T14" fmla="*/ 91 w 484"/>
              <a:gd name="T15" fmla="*/ 112 h 368"/>
              <a:gd name="T16" fmla="*/ 161 w 484"/>
              <a:gd name="T17" fmla="*/ 21 h 368"/>
              <a:gd name="T18" fmla="*/ 237 w 484"/>
              <a:gd name="T19" fmla="*/ 1 h 368"/>
              <a:gd name="T20" fmla="*/ 237 w 484"/>
              <a:gd name="T21" fmla="*/ 1 h 368"/>
              <a:gd name="T22" fmla="*/ 367 w 484"/>
              <a:gd name="T23" fmla="*/ 76 h 368"/>
              <a:gd name="T24" fmla="*/ 382 w 484"/>
              <a:gd name="T25" fmla="*/ 190 h 368"/>
              <a:gd name="T26" fmla="*/ 312 w 484"/>
              <a:gd name="T27" fmla="*/ 282 h 368"/>
              <a:gd name="T28" fmla="*/ 237 w 484"/>
              <a:gd name="T29" fmla="*/ 302 h 368"/>
              <a:gd name="T30" fmla="*/ 106 w 484"/>
              <a:gd name="T31" fmla="*/ 227 h 368"/>
              <a:gd name="T32" fmla="*/ 91 w 484"/>
              <a:gd name="T33" fmla="*/ 112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4" h="368">
                <a:moveTo>
                  <a:pt x="50" y="259"/>
                </a:moveTo>
                <a:cubicBezTo>
                  <a:pt x="90" y="329"/>
                  <a:pt x="162" y="367"/>
                  <a:pt x="237" y="367"/>
                </a:cubicBezTo>
                <a:cubicBezTo>
                  <a:pt x="274" y="367"/>
                  <a:pt x="311" y="358"/>
                  <a:pt x="345" y="338"/>
                </a:cubicBezTo>
                <a:cubicBezTo>
                  <a:pt x="448" y="279"/>
                  <a:pt x="483" y="147"/>
                  <a:pt x="424" y="43"/>
                </a:cubicBezTo>
                <a:cubicBezTo>
                  <a:pt x="414" y="27"/>
                  <a:pt x="403" y="13"/>
                  <a:pt x="391" y="0"/>
                </a:cubicBezTo>
                <a:lnTo>
                  <a:pt x="83" y="0"/>
                </a:lnTo>
                <a:cubicBezTo>
                  <a:pt x="16" y="67"/>
                  <a:pt x="0" y="173"/>
                  <a:pt x="50" y="259"/>
                </a:cubicBezTo>
                <a:close/>
                <a:moveTo>
                  <a:pt x="91" y="112"/>
                </a:moveTo>
                <a:cubicBezTo>
                  <a:pt x="102" y="73"/>
                  <a:pt x="127" y="41"/>
                  <a:pt x="161" y="21"/>
                </a:cubicBezTo>
                <a:cubicBezTo>
                  <a:pt x="184" y="8"/>
                  <a:pt x="210" y="1"/>
                  <a:pt x="237" y="1"/>
                </a:cubicBezTo>
                <a:lnTo>
                  <a:pt x="237" y="1"/>
                </a:lnTo>
                <a:cubicBezTo>
                  <a:pt x="290" y="1"/>
                  <a:pt x="340" y="30"/>
                  <a:pt x="367" y="76"/>
                </a:cubicBezTo>
                <a:cubicBezTo>
                  <a:pt x="387" y="111"/>
                  <a:pt x="393" y="151"/>
                  <a:pt x="382" y="190"/>
                </a:cubicBezTo>
                <a:cubicBezTo>
                  <a:pt x="372" y="229"/>
                  <a:pt x="347" y="262"/>
                  <a:pt x="312" y="282"/>
                </a:cubicBezTo>
                <a:cubicBezTo>
                  <a:pt x="289" y="295"/>
                  <a:pt x="263" y="302"/>
                  <a:pt x="237" y="302"/>
                </a:cubicBezTo>
                <a:cubicBezTo>
                  <a:pt x="183" y="302"/>
                  <a:pt x="133" y="273"/>
                  <a:pt x="106" y="227"/>
                </a:cubicBezTo>
                <a:cubicBezTo>
                  <a:pt x="86" y="192"/>
                  <a:pt x="81" y="151"/>
                  <a:pt x="91" y="112"/>
                </a:cubicBezTo>
                <a:close/>
              </a:path>
            </a:pathLst>
          </a:custGeom>
          <a:solidFill>
            <a:schemeClr val="accent3"/>
          </a:solidFill>
          <a:ln>
            <a:noFill/>
          </a:ln>
          <a:effectLst/>
        </p:spPr>
        <p:txBody>
          <a:bodyPr wrap="none" anchor="ctr"/>
          <a:lstStyle/>
          <a:p>
            <a:endParaRPr dirty="0"/>
          </a:p>
        </p:txBody>
      </p:sp>
      <p:sp>
        <p:nvSpPr>
          <p:cNvPr id="20" name="Freeform 130">
            <a:extLst>
              <a:ext uri="{FF2B5EF4-FFF2-40B4-BE49-F238E27FC236}">
                <a16:creationId xmlns:a16="http://schemas.microsoft.com/office/drawing/2014/main" id="{4476D3D8-F118-4988-A37C-3E372C844E57}"/>
              </a:ext>
            </a:extLst>
          </p:cNvPr>
          <p:cNvSpPr>
            <a:spLocks noChangeArrowheads="1"/>
          </p:cNvSpPr>
          <p:nvPr/>
        </p:nvSpPr>
        <p:spPr bwMode="auto">
          <a:xfrm>
            <a:off x="5923662" y="5220166"/>
            <a:ext cx="3840425" cy="1637834"/>
          </a:xfrm>
          <a:custGeom>
            <a:avLst/>
            <a:gdLst>
              <a:gd name="T0" fmla="*/ 851 w 898"/>
              <a:gd name="T1" fmla="*/ 139 h 382"/>
              <a:gd name="T2" fmla="*/ 556 w 898"/>
              <a:gd name="T3" fmla="*/ 60 h 382"/>
              <a:gd name="T4" fmla="*/ 0 w 898"/>
              <a:gd name="T5" fmla="*/ 381 h 382"/>
              <a:gd name="T6" fmla="*/ 833 w 898"/>
              <a:gd name="T7" fmla="*/ 381 h 382"/>
              <a:gd name="T8" fmla="*/ 851 w 898"/>
              <a:gd name="T9" fmla="*/ 139 h 382"/>
            </a:gdLst>
            <a:ahLst/>
            <a:cxnLst>
              <a:cxn ang="0">
                <a:pos x="T0" y="T1"/>
              </a:cxn>
              <a:cxn ang="0">
                <a:pos x="T2" y="T3"/>
              </a:cxn>
              <a:cxn ang="0">
                <a:pos x="T4" y="T5"/>
              </a:cxn>
              <a:cxn ang="0">
                <a:pos x="T6" y="T7"/>
              </a:cxn>
              <a:cxn ang="0">
                <a:pos x="T8" y="T9"/>
              </a:cxn>
            </a:cxnLst>
            <a:rect l="0" t="0" r="r" b="b"/>
            <a:pathLst>
              <a:path w="898" h="382">
                <a:moveTo>
                  <a:pt x="851" y="139"/>
                </a:moveTo>
                <a:cubicBezTo>
                  <a:pt x="791" y="35"/>
                  <a:pt x="659" y="0"/>
                  <a:pt x="556" y="60"/>
                </a:cubicBezTo>
                <a:lnTo>
                  <a:pt x="0" y="381"/>
                </a:lnTo>
                <a:lnTo>
                  <a:pt x="833" y="381"/>
                </a:lnTo>
                <a:cubicBezTo>
                  <a:pt x="887" y="314"/>
                  <a:pt x="897" y="218"/>
                  <a:pt x="851" y="139"/>
                </a:cubicBezTo>
              </a:path>
            </a:pathLst>
          </a:custGeom>
          <a:solidFill>
            <a:schemeClr val="accent5">
              <a:alpha val="40000"/>
            </a:schemeClr>
          </a:solidFill>
          <a:ln>
            <a:noFill/>
          </a:ln>
          <a:effectLst/>
        </p:spPr>
        <p:txBody>
          <a:bodyPr wrap="none" anchor="ctr"/>
          <a:lstStyle/>
          <a:p>
            <a:endParaRPr dirty="0"/>
          </a:p>
        </p:txBody>
      </p:sp>
    </p:spTree>
    <p:extLst>
      <p:ext uri="{BB962C8B-B14F-4D97-AF65-F5344CB8AC3E}">
        <p14:creationId xmlns:p14="http://schemas.microsoft.com/office/powerpoint/2010/main" val="981443402"/>
      </p:ext>
    </p:extLst>
  </p:cSld>
  <p:clrMapOvr>
    <a:masterClrMapping/>
  </p:clrMapOvr>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3_Call-out + image v3a">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60226914-06EB-2A44-88D7-0C434B022598}"/>
              </a:ext>
            </a:extLst>
          </p:cNvPr>
          <p:cNvPicPr>
            <a:picLocks noChangeAspect="1"/>
          </p:cNvPicPr>
          <p:nvPr userDrawn="1"/>
        </p:nvPicPr>
        <p:blipFill>
          <a:blip r:embed="rId2"/>
          <a:stretch>
            <a:fillRect/>
          </a:stretch>
        </p:blipFill>
        <p:spPr>
          <a:xfrm>
            <a:off x="5724177" y="457200"/>
            <a:ext cx="5943600" cy="5943600"/>
          </a:xfrm>
          <a:prstGeom prst="rect">
            <a:avLst/>
          </a:prstGeom>
        </p:spPr>
      </p:pic>
      <p:sp>
        <p:nvSpPr>
          <p:cNvPr id="7" name="Slide Number Placeholder 6">
            <a:extLst>
              <a:ext uri="{FF2B5EF4-FFF2-40B4-BE49-F238E27FC236}">
                <a16:creationId xmlns:a16="http://schemas.microsoft.com/office/drawing/2014/main" id="{083AA513-3096-463D-86CC-9463654915BB}"/>
              </a:ext>
            </a:extLst>
          </p:cNvPr>
          <p:cNvSpPr>
            <a:spLocks noGrp="1"/>
          </p:cNvSpPr>
          <p:nvPr>
            <p:ph type="sldNum" sz="quarter" idx="14"/>
          </p:nvPr>
        </p:nvSpPr>
        <p:spPr>
          <a:xfrm>
            <a:off x="11278800" y="6400800"/>
            <a:ext cx="442800" cy="226800"/>
          </a:xfrm>
          <a:prstGeom prst="rect">
            <a:avLst/>
          </a:prstGeom>
        </p:spPr>
        <p:txBody>
          <a:bodyPr/>
          <a:lstStyle/>
          <a:p>
            <a:pPr algn="r">
              <a:lnSpc>
                <a:spcPts val="970"/>
              </a:lnSpc>
            </a:pPr>
            <a:fld id="{0B868178-02AE-42FC-958D-6B8F13B60175}" type="slidenum">
              <a:rPr lang="en-GB" smtClean="0"/>
              <a:pPr algn="r">
                <a:lnSpc>
                  <a:spcPts val="970"/>
                </a:lnSpc>
              </a:pPr>
              <a:t>‹#›</a:t>
            </a:fld>
            <a:endParaRPr lang="en-GB" sz="800" noProof="0">
              <a:solidFill>
                <a:schemeClr val="bg1"/>
              </a:solidFill>
            </a:endParaRPr>
          </a:p>
        </p:txBody>
      </p:sp>
      <p:sp>
        <p:nvSpPr>
          <p:cNvPr id="14" name="Title 1">
            <a:extLst>
              <a:ext uri="{FF2B5EF4-FFF2-40B4-BE49-F238E27FC236}">
                <a16:creationId xmlns:a16="http://schemas.microsoft.com/office/drawing/2014/main" id="{ED878C1E-6FBA-4C79-A678-CC522AB6304C}"/>
              </a:ext>
            </a:extLst>
          </p:cNvPr>
          <p:cNvSpPr>
            <a:spLocks noGrp="1"/>
          </p:cNvSpPr>
          <p:nvPr>
            <p:ph type="title"/>
          </p:nvPr>
        </p:nvSpPr>
        <p:spPr>
          <a:xfrm>
            <a:off x="442913" y="1376363"/>
            <a:ext cx="4038687" cy="3245879"/>
          </a:xfrm>
        </p:spPr>
        <p:txBody>
          <a:bodyPr vert="horz" lIns="0" tIns="0" rIns="0" bIns="0" rtlCol="0" anchor="t" anchorCtr="0">
            <a:normAutofit/>
          </a:bodyPr>
          <a:lstStyle>
            <a:lvl1pPr marL="0" indent="0">
              <a:buFont typeface="Arial" panose="020B0604020202020204" pitchFamily="34" charset="0"/>
              <a:buNone/>
              <a:defRPr lang="en-GB" sz="5400" dirty="0"/>
            </a:lvl1pPr>
          </a:lstStyle>
          <a:p>
            <a:pPr lvl="0"/>
            <a:r>
              <a:rPr lang="en-US" dirty="0"/>
              <a:t>Click to edit Master title style</a:t>
            </a:r>
            <a:endParaRPr lang="en-GB" dirty="0"/>
          </a:p>
        </p:txBody>
      </p:sp>
      <p:sp>
        <p:nvSpPr>
          <p:cNvPr id="15" name="Text Placeholder 2">
            <a:extLst>
              <a:ext uri="{FF2B5EF4-FFF2-40B4-BE49-F238E27FC236}">
                <a16:creationId xmlns:a16="http://schemas.microsoft.com/office/drawing/2014/main" id="{1954511D-8D7B-47B9-BEAF-9346F271E02D}"/>
              </a:ext>
            </a:extLst>
          </p:cNvPr>
          <p:cNvSpPr>
            <a:spLocks noGrp="1"/>
          </p:cNvSpPr>
          <p:nvPr>
            <p:ph type="body" idx="1"/>
          </p:nvPr>
        </p:nvSpPr>
        <p:spPr>
          <a:xfrm>
            <a:off x="442913" y="444440"/>
            <a:ext cx="4038687" cy="931923"/>
          </a:xfrm>
        </p:spPr>
        <p:txBody>
          <a:bodyPr vert="horz" lIns="0" tIns="0" rIns="0" bIns="0" rtlCol="0" anchor="t" anchorCtr="0">
            <a:normAutofit/>
          </a:bodyPr>
          <a:lstStyle>
            <a:lvl1pPr marL="0" indent="0">
              <a:buNone/>
              <a:defRPr lang="en-US" sz="2800" smtClean="0">
                <a:solidFill>
                  <a:schemeClr val="accent2"/>
                </a:solidFill>
              </a:defRPr>
            </a:lvl1pPr>
          </a:lstStyle>
          <a:p>
            <a:pPr marL="228600" lvl="0" indent="-228600">
              <a:spcAft>
                <a:spcPts val="0"/>
              </a:spcAft>
            </a:pPr>
            <a:r>
              <a:rPr lang="en-US" dirty="0"/>
              <a:t>Click to edit Master text styles</a:t>
            </a:r>
          </a:p>
        </p:txBody>
      </p:sp>
      <p:sp>
        <p:nvSpPr>
          <p:cNvPr id="18" name="Freeform 128">
            <a:extLst>
              <a:ext uri="{FF2B5EF4-FFF2-40B4-BE49-F238E27FC236}">
                <a16:creationId xmlns:a16="http://schemas.microsoft.com/office/drawing/2014/main" id="{CE295A9A-F92C-4761-AAD6-4B1B875F0FD1}"/>
              </a:ext>
            </a:extLst>
          </p:cNvPr>
          <p:cNvSpPr>
            <a:spLocks noChangeArrowheads="1"/>
          </p:cNvSpPr>
          <p:nvPr/>
        </p:nvSpPr>
        <p:spPr bwMode="auto">
          <a:xfrm>
            <a:off x="11100115" y="3395569"/>
            <a:ext cx="1091885" cy="1863730"/>
          </a:xfrm>
          <a:custGeom>
            <a:avLst/>
            <a:gdLst>
              <a:gd name="T0" fmla="*/ 139 w 257"/>
              <a:gd name="T1" fmla="*/ 31 h 438"/>
              <a:gd name="T2" fmla="*/ 59 w 257"/>
              <a:gd name="T3" fmla="*/ 326 h 438"/>
              <a:gd name="T4" fmla="*/ 256 w 257"/>
              <a:gd name="T5" fmla="*/ 433 h 438"/>
              <a:gd name="T6" fmla="*/ 256 w 257"/>
              <a:gd name="T7" fmla="*/ 2 h 438"/>
              <a:gd name="T8" fmla="*/ 139 w 257"/>
              <a:gd name="T9" fmla="*/ 31 h 438"/>
            </a:gdLst>
            <a:ahLst/>
            <a:cxnLst>
              <a:cxn ang="0">
                <a:pos x="T0" y="T1"/>
              </a:cxn>
              <a:cxn ang="0">
                <a:pos x="T2" y="T3"/>
              </a:cxn>
              <a:cxn ang="0">
                <a:pos x="T4" y="T5"/>
              </a:cxn>
              <a:cxn ang="0">
                <a:pos x="T6" y="T7"/>
              </a:cxn>
              <a:cxn ang="0">
                <a:pos x="T8" y="T9"/>
              </a:cxn>
            </a:cxnLst>
            <a:rect l="0" t="0" r="r" b="b"/>
            <a:pathLst>
              <a:path w="257" h="438">
                <a:moveTo>
                  <a:pt x="139" y="31"/>
                </a:moveTo>
                <a:cubicBezTo>
                  <a:pt x="35" y="90"/>
                  <a:pt x="0" y="222"/>
                  <a:pt x="59" y="326"/>
                </a:cubicBezTo>
                <a:cubicBezTo>
                  <a:pt x="101" y="398"/>
                  <a:pt x="178" y="437"/>
                  <a:pt x="256" y="433"/>
                </a:cubicBezTo>
                <a:lnTo>
                  <a:pt x="256" y="2"/>
                </a:lnTo>
                <a:cubicBezTo>
                  <a:pt x="217" y="0"/>
                  <a:pt x="176" y="9"/>
                  <a:pt x="139" y="31"/>
                </a:cubicBezTo>
              </a:path>
            </a:pathLst>
          </a:custGeom>
          <a:solidFill>
            <a:schemeClr val="accent1">
              <a:alpha val="70000"/>
            </a:schemeClr>
          </a:solidFill>
          <a:ln>
            <a:noFill/>
          </a:ln>
          <a:effectLst/>
        </p:spPr>
        <p:txBody>
          <a:bodyPr wrap="none" anchor="ctr"/>
          <a:lstStyle/>
          <a:p>
            <a:endParaRPr dirty="0"/>
          </a:p>
        </p:txBody>
      </p:sp>
      <p:sp>
        <p:nvSpPr>
          <p:cNvPr id="19" name="Freeform 129">
            <a:extLst>
              <a:ext uri="{FF2B5EF4-FFF2-40B4-BE49-F238E27FC236}">
                <a16:creationId xmlns:a16="http://schemas.microsoft.com/office/drawing/2014/main" id="{F2C31331-5F0B-42EC-8EB9-C13D6A055521}"/>
              </a:ext>
            </a:extLst>
          </p:cNvPr>
          <p:cNvSpPr>
            <a:spLocks noChangeArrowheads="1"/>
          </p:cNvSpPr>
          <p:nvPr/>
        </p:nvSpPr>
        <p:spPr bwMode="auto">
          <a:xfrm>
            <a:off x="4492916" y="0"/>
            <a:ext cx="2070817" cy="1562532"/>
          </a:xfrm>
          <a:custGeom>
            <a:avLst/>
            <a:gdLst>
              <a:gd name="T0" fmla="*/ 50 w 484"/>
              <a:gd name="T1" fmla="*/ 259 h 368"/>
              <a:gd name="T2" fmla="*/ 237 w 484"/>
              <a:gd name="T3" fmla="*/ 367 h 368"/>
              <a:gd name="T4" fmla="*/ 345 w 484"/>
              <a:gd name="T5" fmla="*/ 338 h 368"/>
              <a:gd name="T6" fmla="*/ 424 w 484"/>
              <a:gd name="T7" fmla="*/ 43 h 368"/>
              <a:gd name="T8" fmla="*/ 391 w 484"/>
              <a:gd name="T9" fmla="*/ 0 h 368"/>
              <a:gd name="T10" fmla="*/ 83 w 484"/>
              <a:gd name="T11" fmla="*/ 0 h 368"/>
              <a:gd name="T12" fmla="*/ 50 w 484"/>
              <a:gd name="T13" fmla="*/ 259 h 368"/>
              <a:gd name="T14" fmla="*/ 91 w 484"/>
              <a:gd name="T15" fmla="*/ 112 h 368"/>
              <a:gd name="T16" fmla="*/ 161 w 484"/>
              <a:gd name="T17" fmla="*/ 21 h 368"/>
              <a:gd name="T18" fmla="*/ 237 w 484"/>
              <a:gd name="T19" fmla="*/ 1 h 368"/>
              <a:gd name="T20" fmla="*/ 237 w 484"/>
              <a:gd name="T21" fmla="*/ 1 h 368"/>
              <a:gd name="T22" fmla="*/ 367 w 484"/>
              <a:gd name="T23" fmla="*/ 76 h 368"/>
              <a:gd name="T24" fmla="*/ 382 w 484"/>
              <a:gd name="T25" fmla="*/ 190 h 368"/>
              <a:gd name="T26" fmla="*/ 312 w 484"/>
              <a:gd name="T27" fmla="*/ 282 h 368"/>
              <a:gd name="T28" fmla="*/ 237 w 484"/>
              <a:gd name="T29" fmla="*/ 302 h 368"/>
              <a:gd name="T30" fmla="*/ 106 w 484"/>
              <a:gd name="T31" fmla="*/ 227 h 368"/>
              <a:gd name="T32" fmla="*/ 91 w 484"/>
              <a:gd name="T33" fmla="*/ 112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4" h="368">
                <a:moveTo>
                  <a:pt x="50" y="259"/>
                </a:moveTo>
                <a:cubicBezTo>
                  <a:pt x="90" y="329"/>
                  <a:pt x="162" y="367"/>
                  <a:pt x="237" y="367"/>
                </a:cubicBezTo>
                <a:cubicBezTo>
                  <a:pt x="274" y="367"/>
                  <a:pt x="311" y="358"/>
                  <a:pt x="345" y="338"/>
                </a:cubicBezTo>
                <a:cubicBezTo>
                  <a:pt x="448" y="279"/>
                  <a:pt x="483" y="147"/>
                  <a:pt x="424" y="43"/>
                </a:cubicBezTo>
                <a:cubicBezTo>
                  <a:pt x="414" y="27"/>
                  <a:pt x="403" y="13"/>
                  <a:pt x="391" y="0"/>
                </a:cubicBezTo>
                <a:lnTo>
                  <a:pt x="83" y="0"/>
                </a:lnTo>
                <a:cubicBezTo>
                  <a:pt x="16" y="67"/>
                  <a:pt x="0" y="173"/>
                  <a:pt x="50" y="259"/>
                </a:cubicBezTo>
                <a:close/>
                <a:moveTo>
                  <a:pt x="91" y="112"/>
                </a:moveTo>
                <a:cubicBezTo>
                  <a:pt x="102" y="73"/>
                  <a:pt x="127" y="41"/>
                  <a:pt x="161" y="21"/>
                </a:cubicBezTo>
                <a:cubicBezTo>
                  <a:pt x="184" y="8"/>
                  <a:pt x="210" y="1"/>
                  <a:pt x="237" y="1"/>
                </a:cubicBezTo>
                <a:lnTo>
                  <a:pt x="237" y="1"/>
                </a:lnTo>
                <a:cubicBezTo>
                  <a:pt x="290" y="1"/>
                  <a:pt x="340" y="30"/>
                  <a:pt x="367" y="76"/>
                </a:cubicBezTo>
                <a:cubicBezTo>
                  <a:pt x="387" y="111"/>
                  <a:pt x="393" y="151"/>
                  <a:pt x="382" y="190"/>
                </a:cubicBezTo>
                <a:cubicBezTo>
                  <a:pt x="372" y="229"/>
                  <a:pt x="347" y="262"/>
                  <a:pt x="312" y="282"/>
                </a:cubicBezTo>
                <a:cubicBezTo>
                  <a:pt x="289" y="295"/>
                  <a:pt x="263" y="302"/>
                  <a:pt x="237" y="302"/>
                </a:cubicBezTo>
                <a:cubicBezTo>
                  <a:pt x="183" y="302"/>
                  <a:pt x="133" y="273"/>
                  <a:pt x="106" y="227"/>
                </a:cubicBezTo>
                <a:cubicBezTo>
                  <a:pt x="86" y="192"/>
                  <a:pt x="81" y="151"/>
                  <a:pt x="91" y="112"/>
                </a:cubicBezTo>
                <a:close/>
              </a:path>
            </a:pathLst>
          </a:custGeom>
          <a:solidFill>
            <a:schemeClr val="accent6"/>
          </a:solidFill>
          <a:ln>
            <a:noFill/>
          </a:ln>
          <a:effectLst/>
        </p:spPr>
        <p:txBody>
          <a:bodyPr wrap="none" anchor="ctr"/>
          <a:lstStyle/>
          <a:p>
            <a:endParaRPr dirty="0"/>
          </a:p>
        </p:txBody>
      </p:sp>
      <p:sp>
        <p:nvSpPr>
          <p:cNvPr id="20" name="Freeform 130">
            <a:extLst>
              <a:ext uri="{FF2B5EF4-FFF2-40B4-BE49-F238E27FC236}">
                <a16:creationId xmlns:a16="http://schemas.microsoft.com/office/drawing/2014/main" id="{4476D3D8-F118-4988-A37C-3E372C844E57}"/>
              </a:ext>
            </a:extLst>
          </p:cNvPr>
          <p:cNvSpPr>
            <a:spLocks noChangeArrowheads="1"/>
          </p:cNvSpPr>
          <p:nvPr/>
        </p:nvSpPr>
        <p:spPr bwMode="auto">
          <a:xfrm>
            <a:off x="5923662" y="5220166"/>
            <a:ext cx="3840425" cy="1637834"/>
          </a:xfrm>
          <a:custGeom>
            <a:avLst/>
            <a:gdLst>
              <a:gd name="T0" fmla="*/ 851 w 898"/>
              <a:gd name="T1" fmla="*/ 139 h 382"/>
              <a:gd name="T2" fmla="*/ 556 w 898"/>
              <a:gd name="T3" fmla="*/ 60 h 382"/>
              <a:gd name="T4" fmla="*/ 0 w 898"/>
              <a:gd name="T5" fmla="*/ 381 h 382"/>
              <a:gd name="T6" fmla="*/ 833 w 898"/>
              <a:gd name="T7" fmla="*/ 381 h 382"/>
              <a:gd name="T8" fmla="*/ 851 w 898"/>
              <a:gd name="T9" fmla="*/ 139 h 382"/>
            </a:gdLst>
            <a:ahLst/>
            <a:cxnLst>
              <a:cxn ang="0">
                <a:pos x="T0" y="T1"/>
              </a:cxn>
              <a:cxn ang="0">
                <a:pos x="T2" y="T3"/>
              </a:cxn>
              <a:cxn ang="0">
                <a:pos x="T4" y="T5"/>
              </a:cxn>
              <a:cxn ang="0">
                <a:pos x="T6" y="T7"/>
              </a:cxn>
              <a:cxn ang="0">
                <a:pos x="T8" y="T9"/>
              </a:cxn>
            </a:cxnLst>
            <a:rect l="0" t="0" r="r" b="b"/>
            <a:pathLst>
              <a:path w="898" h="382">
                <a:moveTo>
                  <a:pt x="851" y="139"/>
                </a:moveTo>
                <a:cubicBezTo>
                  <a:pt x="791" y="35"/>
                  <a:pt x="659" y="0"/>
                  <a:pt x="556" y="60"/>
                </a:cubicBezTo>
                <a:lnTo>
                  <a:pt x="0" y="381"/>
                </a:lnTo>
                <a:lnTo>
                  <a:pt x="833" y="381"/>
                </a:lnTo>
                <a:cubicBezTo>
                  <a:pt x="887" y="314"/>
                  <a:pt x="897" y="218"/>
                  <a:pt x="851" y="139"/>
                </a:cubicBezTo>
              </a:path>
            </a:pathLst>
          </a:custGeom>
          <a:solidFill>
            <a:schemeClr val="accent1">
              <a:alpha val="40000"/>
            </a:schemeClr>
          </a:solidFill>
          <a:ln>
            <a:noFill/>
          </a:ln>
          <a:effectLst/>
        </p:spPr>
        <p:txBody>
          <a:bodyPr wrap="none" anchor="ctr"/>
          <a:lstStyle/>
          <a:p>
            <a:endParaRPr dirty="0"/>
          </a:p>
        </p:txBody>
      </p:sp>
    </p:spTree>
    <p:extLst>
      <p:ext uri="{BB962C8B-B14F-4D97-AF65-F5344CB8AC3E}">
        <p14:creationId xmlns:p14="http://schemas.microsoft.com/office/powerpoint/2010/main" val="197777192"/>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13_Title Slide">
    <p:spTree>
      <p:nvGrpSpPr>
        <p:cNvPr id="1" name=""/>
        <p:cNvGrpSpPr/>
        <p:nvPr/>
      </p:nvGrpSpPr>
      <p:grpSpPr>
        <a:xfrm>
          <a:off x="0" y="0"/>
          <a:ext cx="0" cy="0"/>
          <a:chOff x="0" y="0"/>
          <a:chExt cx="0" cy="0"/>
        </a:xfrm>
      </p:grpSpPr>
      <p:sp>
        <p:nvSpPr>
          <p:cNvPr id="24" name="Picture Placeholder 23">
            <a:extLst>
              <a:ext uri="{FF2B5EF4-FFF2-40B4-BE49-F238E27FC236}">
                <a16:creationId xmlns:a16="http://schemas.microsoft.com/office/drawing/2014/main" id="{C8FDB0C9-4DDE-4FAC-95F1-8B7128740DE2}"/>
              </a:ext>
            </a:extLst>
          </p:cNvPr>
          <p:cNvSpPr>
            <a:spLocks noGrp="1"/>
          </p:cNvSpPr>
          <p:nvPr>
            <p:ph type="pic" sz="quarter" idx="12"/>
          </p:nvPr>
        </p:nvSpPr>
        <p:spPr>
          <a:xfrm>
            <a:off x="7042068" y="0"/>
            <a:ext cx="5149932" cy="5878512"/>
          </a:xfrm>
          <a:custGeom>
            <a:avLst/>
            <a:gdLst>
              <a:gd name="connsiteX0" fmla="*/ 2444335 w 5157600"/>
              <a:gd name="connsiteY0" fmla="*/ 0 h 5896326"/>
              <a:gd name="connsiteX1" fmla="*/ 5157600 w 5157600"/>
              <a:gd name="connsiteY1" fmla="*/ 0 h 5896326"/>
              <a:gd name="connsiteX2" fmla="*/ 5157600 w 5157600"/>
              <a:gd name="connsiteY2" fmla="*/ 4960604 h 5896326"/>
              <a:gd name="connsiteX3" fmla="*/ 5139606 w 5157600"/>
              <a:gd name="connsiteY3" fmla="*/ 5007064 h 5896326"/>
              <a:gd name="connsiteX4" fmla="*/ 4188448 w 5157600"/>
              <a:gd name="connsiteY4" fmla="*/ 5523262 h 5896326"/>
              <a:gd name="connsiteX5" fmla="*/ 4067914 w 5157600"/>
              <a:gd name="connsiteY5" fmla="*/ 5573954 h 5896326"/>
              <a:gd name="connsiteX6" fmla="*/ 3868375 w 5157600"/>
              <a:gd name="connsiteY6" fmla="*/ 5672344 h 5896326"/>
              <a:gd name="connsiteX7" fmla="*/ 2784516 w 5157600"/>
              <a:gd name="connsiteY7" fmla="*/ 5896326 h 5896326"/>
              <a:gd name="connsiteX8" fmla="*/ 0 w 5157600"/>
              <a:gd name="connsiteY8" fmla="*/ 3046134 h 5896326"/>
              <a:gd name="connsiteX9" fmla="*/ 1457250 w 5157600"/>
              <a:gd name="connsiteY9" fmla="*/ 539945 h 5896326"/>
              <a:gd name="connsiteX10" fmla="*/ 1507759 w 5157600"/>
              <a:gd name="connsiteY10" fmla="*/ 515040 h 5896326"/>
              <a:gd name="connsiteX11" fmla="*/ 1583909 w 5157600"/>
              <a:gd name="connsiteY11" fmla="*/ 467770 h 5896326"/>
              <a:gd name="connsiteX12" fmla="*/ 2444335 w 5157600"/>
              <a:gd name="connsiteY12" fmla="*/ 0 h 5896326"/>
              <a:gd name="connsiteX0" fmla="*/ 2444335 w 5157600"/>
              <a:gd name="connsiteY0" fmla="*/ 0 h 5896326"/>
              <a:gd name="connsiteX1" fmla="*/ 5157600 w 5157600"/>
              <a:gd name="connsiteY1" fmla="*/ 0 h 5896326"/>
              <a:gd name="connsiteX2" fmla="*/ 5157600 w 5157600"/>
              <a:gd name="connsiteY2" fmla="*/ 4960604 h 5896326"/>
              <a:gd name="connsiteX3" fmla="*/ 5139606 w 5157600"/>
              <a:gd name="connsiteY3" fmla="*/ 5007064 h 5896326"/>
              <a:gd name="connsiteX4" fmla="*/ 4188448 w 5157600"/>
              <a:gd name="connsiteY4" fmla="*/ 5523262 h 5896326"/>
              <a:gd name="connsiteX5" fmla="*/ 4067914 w 5157600"/>
              <a:gd name="connsiteY5" fmla="*/ 5573954 h 5896326"/>
              <a:gd name="connsiteX6" fmla="*/ 3868375 w 5157600"/>
              <a:gd name="connsiteY6" fmla="*/ 5672344 h 5896326"/>
              <a:gd name="connsiteX7" fmla="*/ 2784516 w 5157600"/>
              <a:gd name="connsiteY7" fmla="*/ 5896326 h 5896326"/>
              <a:gd name="connsiteX8" fmla="*/ 0 w 5157600"/>
              <a:gd name="connsiteY8" fmla="*/ 3046134 h 5896326"/>
              <a:gd name="connsiteX9" fmla="*/ 1457250 w 5157600"/>
              <a:gd name="connsiteY9" fmla="*/ 539945 h 5896326"/>
              <a:gd name="connsiteX10" fmla="*/ 1507759 w 5157600"/>
              <a:gd name="connsiteY10" fmla="*/ 515040 h 5896326"/>
              <a:gd name="connsiteX11" fmla="*/ 1583909 w 5157600"/>
              <a:gd name="connsiteY11" fmla="*/ 467770 h 5896326"/>
              <a:gd name="connsiteX12" fmla="*/ 2444335 w 5157600"/>
              <a:gd name="connsiteY12" fmla="*/ 0 h 5896326"/>
              <a:gd name="connsiteX0" fmla="*/ 2444335 w 5157600"/>
              <a:gd name="connsiteY0" fmla="*/ 0 h 5896326"/>
              <a:gd name="connsiteX1" fmla="*/ 5157600 w 5157600"/>
              <a:gd name="connsiteY1" fmla="*/ 0 h 5896326"/>
              <a:gd name="connsiteX2" fmla="*/ 5157600 w 5157600"/>
              <a:gd name="connsiteY2" fmla="*/ 4960604 h 5896326"/>
              <a:gd name="connsiteX3" fmla="*/ 5139606 w 5157600"/>
              <a:gd name="connsiteY3" fmla="*/ 5007064 h 5896326"/>
              <a:gd name="connsiteX4" fmla="*/ 4188448 w 5157600"/>
              <a:gd name="connsiteY4" fmla="*/ 5523262 h 5896326"/>
              <a:gd name="connsiteX5" fmla="*/ 4067914 w 5157600"/>
              <a:gd name="connsiteY5" fmla="*/ 5573954 h 5896326"/>
              <a:gd name="connsiteX6" fmla="*/ 3868375 w 5157600"/>
              <a:gd name="connsiteY6" fmla="*/ 5672344 h 5896326"/>
              <a:gd name="connsiteX7" fmla="*/ 2784516 w 5157600"/>
              <a:gd name="connsiteY7" fmla="*/ 5896326 h 5896326"/>
              <a:gd name="connsiteX8" fmla="*/ 0 w 5157600"/>
              <a:gd name="connsiteY8" fmla="*/ 3046134 h 5896326"/>
              <a:gd name="connsiteX9" fmla="*/ 1457250 w 5157600"/>
              <a:gd name="connsiteY9" fmla="*/ 539945 h 5896326"/>
              <a:gd name="connsiteX10" fmla="*/ 1507759 w 5157600"/>
              <a:gd name="connsiteY10" fmla="*/ 515040 h 5896326"/>
              <a:gd name="connsiteX11" fmla="*/ 1583909 w 5157600"/>
              <a:gd name="connsiteY11" fmla="*/ 467770 h 5896326"/>
              <a:gd name="connsiteX12" fmla="*/ 2444335 w 5157600"/>
              <a:gd name="connsiteY12" fmla="*/ 0 h 5896326"/>
              <a:gd name="connsiteX0" fmla="*/ 2444335 w 5157600"/>
              <a:gd name="connsiteY0" fmla="*/ 0 h 5896326"/>
              <a:gd name="connsiteX1" fmla="*/ 5157600 w 5157600"/>
              <a:gd name="connsiteY1" fmla="*/ 0 h 5896326"/>
              <a:gd name="connsiteX2" fmla="*/ 5157600 w 5157600"/>
              <a:gd name="connsiteY2" fmla="*/ 4960604 h 5896326"/>
              <a:gd name="connsiteX3" fmla="*/ 5139606 w 5157600"/>
              <a:gd name="connsiteY3" fmla="*/ 5007064 h 5896326"/>
              <a:gd name="connsiteX4" fmla="*/ 4188448 w 5157600"/>
              <a:gd name="connsiteY4" fmla="*/ 5523262 h 5896326"/>
              <a:gd name="connsiteX5" fmla="*/ 4067914 w 5157600"/>
              <a:gd name="connsiteY5" fmla="*/ 5573954 h 5896326"/>
              <a:gd name="connsiteX6" fmla="*/ 3868375 w 5157600"/>
              <a:gd name="connsiteY6" fmla="*/ 5672344 h 5896326"/>
              <a:gd name="connsiteX7" fmla="*/ 2784516 w 5157600"/>
              <a:gd name="connsiteY7" fmla="*/ 5896326 h 5896326"/>
              <a:gd name="connsiteX8" fmla="*/ 0 w 5157600"/>
              <a:gd name="connsiteY8" fmla="*/ 3046134 h 5896326"/>
              <a:gd name="connsiteX9" fmla="*/ 1457250 w 5157600"/>
              <a:gd name="connsiteY9" fmla="*/ 539945 h 5896326"/>
              <a:gd name="connsiteX10" fmla="*/ 1507759 w 5157600"/>
              <a:gd name="connsiteY10" fmla="*/ 510278 h 5896326"/>
              <a:gd name="connsiteX11" fmla="*/ 1583909 w 5157600"/>
              <a:gd name="connsiteY11" fmla="*/ 467770 h 5896326"/>
              <a:gd name="connsiteX12" fmla="*/ 2444335 w 5157600"/>
              <a:gd name="connsiteY12" fmla="*/ 0 h 5896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157600" h="5896326">
                <a:moveTo>
                  <a:pt x="2444335" y="0"/>
                </a:moveTo>
                <a:lnTo>
                  <a:pt x="5157600" y="0"/>
                </a:lnTo>
                <a:lnTo>
                  <a:pt x="5157600" y="4960604"/>
                </a:lnTo>
                <a:lnTo>
                  <a:pt x="5139606" y="5007064"/>
                </a:lnTo>
                <a:cubicBezTo>
                  <a:pt x="4768181" y="5217429"/>
                  <a:pt x="4494388" y="5383740"/>
                  <a:pt x="4188448" y="5523262"/>
                </a:cubicBezTo>
                <a:lnTo>
                  <a:pt x="4067914" y="5573954"/>
                </a:lnTo>
                <a:lnTo>
                  <a:pt x="3868375" y="5672344"/>
                </a:lnTo>
                <a:cubicBezTo>
                  <a:pt x="3535241" y="5816572"/>
                  <a:pt x="3168978" y="5896326"/>
                  <a:pt x="2784516" y="5896326"/>
                </a:cubicBezTo>
                <a:cubicBezTo>
                  <a:pt x="1246670" y="5896326"/>
                  <a:pt x="0" y="4620252"/>
                  <a:pt x="0" y="3046134"/>
                </a:cubicBezTo>
                <a:cubicBezTo>
                  <a:pt x="0" y="1963928"/>
                  <a:pt x="589247" y="1022594"/>
                  <a:pt x="1457250" y="539945"/>
                </a:cubicBezTo>
                <a:lnTo>
                  <a:pt x="1507759" y="510278"/>
                </a:lnTo>
                <a:cubicBezTo>
                  <a:pt x="1596642" y="456421"/>
                  <a:pt x="1558526" y="483527"/>
                  <a:pt x="1583909" y="467770"/>
                </a:cubicBezTo>
                <a:cubicBezTo>
                  <a:pt x="2298151" y="97534"/>
                  <a:pt x="2181934" y="152947"/>
                  <a:pt x="2444335" y="0"/>
                </a:cubicBezTo>
                <a:close/>
              </a:path>
            </a:pathLst>
          </a:custGeom>
          <a:solidFill>
            <a:schemeClr val="accent1">
              <a:alpha val="15000"/>
            </a:schemeClr>
          </a:solidFill>
        </p:spPr>
        <p:txBody>
          <a:bodyPr wrap="square">
            <a:noAutofit/>
          </a:bodyPr>
          <a:lstStyle>
            <a:lvl1pPr marL="0" indent="0" algn="r">
              <a:buNone/>
              <a:defRPr sz="1800">
                <a:solidFill>
                  <a:schemeClr val="accent2"/>
                </a:solidFill>
              </a:defRPr>
            </a:lvl1pPr>
          </a:lstStyle>
          <a:p>
            <a:r>
              <a:rPr lang="en-US"/>
              <a:t>Click icon to add picture</a:t>
            </a:r>
            <a:endParaRPr lang="en-GB" dirty="0"/>
          </a:p>
        </p:txBody>
      </p:sp>
      <p:sp>
        <p:nvSpPr>
          <p:cNvPr id="16" name="Oval 15">
            <a:extLst>
              <a:ext uri="{FF2B5EF4-FFF2-40B4-BE49-F238E27FC236}">
                <a16:creationId xmlns:a16="http://schemas.microsoft.com/office/drawing/2014/main" id="{9027E444-632B-8C47-B211-F2BBA5C717E2}"/>
              </a:ext>
            </a:extLst>
          </p:cNvPr>
          <p:cNvSpPr/>
          <p:nvPr userDrawn="1"/>
        </p:nvSpPr>
        <p:spPr>
          <a:xfrm>
            <a:off x="-2885569" y="4794615"/>
            <a:ext cx="5269730" cy="5269730"/>
          </a:xfrm>
          <a:prstGeom prst="ellipse">
            <a:avLst/>
          </a:prstGeom>
          <a:gradFill>
            <a:gsLst>
              <a:gs pos="0">
                <a:schemeClr val="accent3"/>
              </a:gs>
              <a:gs pos="92000">
                <a:schemeClr val="accent3">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Rectangle: Rounded Corners 61">
            <a:extLst>
              <a:ext uri="{FF2B5EF4-FFF2-40B4-BE49-F238E27FC236}">
                <a16:creationId xmlns:a16="http://schemas.microsoft.com/office/drawing/2014/main" id="{E5626DA7-5E1D-C442-83E8-51F864B2BD75}"/>
              </a:ext>
            </a:extLst>
          </p:cNvPr>
          <p:cNvSpPr/>
          <p:nvPr userDrawn="1"/>
        </p:nvSpPr>
        <p:spPr>
          <a:xfrm>
            <a:off x="7642275" y="5092197"/>
            <a:ext cx="343503" cy="343503"/>
          </a:xfrm>
          <a:prstGeom prst="roundRect">
            <a:avLst>
              <a:gd name="adj" fmla="val 50000"/>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Oval 17">
            <a:extLst>
              <a:ext uri="{FF2B5EF4-FFF2-40B4-BE49-F238E27FC236}">
                <a16:creationId xmlns:a16="http://schemas.microsoft.com/office/drawing/2014/main" id="{54465E5F-5294-F048-BED3-D7FC9B40FEF2}"/>
              </a:ext>
            </a:extLst>
          </p:cNvPr>
          <p:cNvSpPr/>
          <p:nvPr userDrawn="1"/>
        </p:nvSpPr>
        <p:spPr>
          <a:xfrm>
            <a:off x="6592402" y="5132386"/>
            <a:ext cx="166006" cy="16600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Rectangle: Rounded Corners 38">
            <a:extLst>
              <a:ext uri="{FF2B5EF4-FFF2-40B4-BE49-F238E27FC236}">
                <a16:creationId xmlns:a16="http://schemas.microsoft.com/office/drawing/2014/main" id="{7907DE93-320E-0443-98E6-7C6A0254F4D8}"/>
              </a:ext>
            </a:extLst>
          </p:cNvPr>
          <p:cNvSpPr/>
          <p:nvPr userDrawn="1"/>
        </p:nvSpPr>
        <p:spPr>
          <a:xfrm>
            <a:off x="6463343" y="6006191"/>
            <a:ext cx="711156" cy="713781"/>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Rectangle: Rounded Corners 48">
            <a:extLst>
              <a:ext uri="{FF2B5EF4-FFF2-40B4-BE49-F238E27FC236}">
                <a16:creationId xmlns:a16="http://schemas.microsoft.com/office/drawing/2014/main" id="{9436BE4A-A781-EA43-9852-A106238B0C81}"/>
              </a:ext>
            </a:extLst>
          </p:cNvPr>
          <p:cNvSpPr/>
          <p:nvPr userDrawn="1"/>
        </p:nvSpPr>
        <p:spPr>
          <a:xfrm rot="3600000">
            <a:off x="11387879" y="2443105"/>
            <a:ext cx="313421" cy="1416320"/>
          </a:xfrm>
          <a:prstGeom prst="roundRect">
            <a:avLst>
              <a:gd name="adj" fmla="val 50000"/>
            </a:avLst>
          </a:prstGeom>
          <a:gradFill>
            <a:gsLst>
              <a:gs pos="100000">
                <a:schemeClr val="accent6">
                  <a:alpha val="20000"/>
                </a:schemeClr>
              </a:gs>
              <a:gs pos="63000">
                <a:schemeClr val="accent6"/>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Rectangle: Rounded Corners 51">
            <a:extLst>
              <a:ext uri="{FF2B5EF4-FFF2-40B4-BE49-F238E27FC236}">
                <a16:creationId xmlns:a16="http://schemas.microsoft.com/office/drawing/2014/main" id="{20381A32-8EAE-ED4E-9481-EA5C911FB889}"/>
              </a:ext>
            </a:extLst>
          </p:cNvPr>
          <p:cNvSpPr/>
          <p:nvPr userDrawn="1"/>
        </p:nvSpPr>
        <p:spPr>
          <a:xfrm rot="3600000">
            <a:off x="9932837" y="2278749"/>
            <a:ext cx="1342757" cy="3856608"/>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Rectangle: Rounded Corners 62">
            <a:extLst>
              <a:ext uri="{FF2B5EF4-FFF2-40B4-BE49-F238E27FC236}">
                <a16:creationId xmlns:a16="http://schemas.microsoft.com/office/drawing/2014/main" id="{AE6747C9-F5A8-AD4D-953B-ACBE9E5D40B5}"/>
              </a:ext>
            </a:extLst>
          </p:cNvPr>
          <p:cNvSpPr/>
          <p:nvPr userDrawn="1"/>
        </p:nvSpPr>
        <p:spPr>
          <a:xfrm rot="3600000">
            <a:off x="10545000" y="5063818"/>
            <a:ext cx="918613" cy="3208835"/>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2" name="Rectangle: Rounded Corners 64">
            <a:extLst>
              <a:ext uri="{FF2B5EF4-FFF2-40B4-BE49-F238E27FC236}">
                <a16:creationId xmlns:a16="http://schemas.microsoft.com/office/drawing/2014/main" id="{D03699B2-8DB8-C74C-83EE-587FABB657BF}"/>
              </a:ext>
            </a:extLst>
          </p:cNvPr>
          <p:cNvSpPr/>
          <p:nvPr userDrawn="1"/>
        </p:nvSpPr>
        <p:spPr>
          <a:xfrm>
            <a:off x="10651084" y="5481320"/>
            <a:ext cx="1570202" cy="1570202"/>
          </a:xfrm>
          <a:prstGeom prst="roundRect">
            <a:avLst>
              <a:gd name="adj" fmla="val 50000"/>
            </a:avLst>
          </a:prstGeom>
          <a:solidFill>
            <a:schemeClr val="accent1"/>
          </a:solidFill>
          <a:ln>
            <a:noFill/>
          </a:ln>
          <a:effectLst>
            <a:softEdge rad="635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4" name="Rectangle: Rounded Corners 55">
            <a:extLst>
              <a:ext uri="{FF2B5EF4-FFF2-40B4-BE49-F238E27FC236}">
                <a16:creationId xmlns:a16="http://schemas.microsoft.com/office/drawing/2014/main" id="{DFF405C8-ACFF-3348-A903-FF8233DF8ECA}"/>
              </a:ext>
            </a:extLst>
          </p:cNvPr>
          <p:cNvSpPr/>
          <p:nvPr userDrawn="1"/>
        </p:nvSpPr>
        <p:spPr>
          <a:xfrm rot="3600000">
            <a:off x="10802728" y="3617938"/>
            <a:ext cx="1526733" cy="3424824"/>
          </a:xfrm>
          <a:prstGeom prst="roundRect">
            <a:avLst>
              <a:gd name="adj" fmla="val 50000"/>
            </a:avLst>
          </a:prstGeom>
          <a:gradFill>
            <a:gsLst>
              <a:gs pos="86000">
                <a:schemeClr val="accent1">
                  <a:alpha val="0"/>
                </a:schemeClr>
              </a:gs>
              <a:gs pos="53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5" name="Rectangle: Rounded Corners 56">
            <a:extLst>
              <a:ext uri="{FF2B5EF4-FFF2-40B4-BE49-F238E27FC236}">
                <a16:creationId xmlns:a16="http://schemas.microsoft.com/office/drawing/2014/main" id="{8B9AC496-BE53-0F42-A8CE-F164D200C48C}"/>
              </a:ext>
            </a:extLst>
          </p:cNvPr>
          <p:cNvSpPr/>
          <p:nvPr userDrawn="1"/>
        </p:nvSpPr>
        <p:spPr>
          <a:xfrm rot="3600000">
            <a:off x="9058942" y="3555681"/>
            <a:ext cx="2249432" cy="4129698"/>
          </a:xfrm>
          <a:prstGeom prst="roundRect">
            <a:avLst>
              <a:gd name="adj" fmla="val 50000"/>
            </a:avLst>
          </a:prstGeom>
          <a:gradFill>
            <a:gsLst>
              <a:gs pos="100000">
                <a:schemeClr val="accent6">
                  <a:alpha val="13000"/>
                </a:schemeClr>
              </a:gs>
              <a:gs pos="42000">
                <a:schemeClr val="accent6"/>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7" name="Rectangle: Rounded Corners 57">
            <a:extLst>
              <a:ext uri="{FF2B5EF4-FFF2-40B4-BE49-F238E27FC236}">
                <a16:creationId xmlns:a16="http://schemas.microsoft.com/office/drawing/2014/main" id="{4FD82F39-65C7-EC4C-86A5-BC16EC0DC1A1}"/>
              </a:ext>
            </a:extLst>
          </p:cNvPr>
          <p:cNvSpPr/>
          <p:nvPr userDrawn="1"/>
        </p:nvSpPr>
        <p:spPr>
          <a:xfrm rot="3600000">
            <a:off x="10627903" y="3465319"/>
            <a:ext cx="734621" cy="2563759"/>
          </a:xfrm>
          <a:prstGeom prst="roundRect">
            <a:avLst>
              <a:gd name="adj" fmla="val 50000"/>
            </a:avLst>
          </a:prstGeom>
          <a:gradFill>
            <a:gsLst>
              <a:gs pos="86000">
                <a:schemeClr val="accent3">
                  <a:alpha val="0"/>
                </a:schemeClr>
              </a:gs>
              <a:gs pos="47000">
                <a:schemeClr val="accent3"/>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8" name="Oval 37">
            <a:extLst>
              <a:ext uri="{FF2B5EF4-FFF2-40B4-BE49-F238E27FC236}">
                <a16:creationId xmlns:a16="http://schemas.microsoft.com/office/drawing/2014/main" id="{8FB32868-BC5F-5E4C-BDE3-ACA662583B8A}"/>
              </a:ext>
            </a:extLst>
          </p:cNvPr>
          <p:cNvSpPr/>
          <p:nvPr userDrawn="1"/>
        </p:nvSpPr>
        <p:spPr>
          <a:xfrm>
            <a:off x="8827303" y="6131182"/>
            <a:ext cx="1298298" cy="1298298"/>
          </a:xfrm>
          <a:prstGeom prst="ellipse">
            <a:avLst/>
          </a:prstGeom>
          <a:solidFill>
            <a:schemeClr val="accent3">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9" name="Oval 38">
            <a:extLst>
              <a:ext uri="{FF2B5EF4-FFF2-40B4-BE49-F238E27FC236}">
                <a16:creationId xmlns:a16="http://schemas.microsoft.com/office/drawing/2014/main" id="{E00F6FC9-A92F-034E-89A8-61FD72C77A40}"/>
              </a:ext>
            </a:extLst>
          </p:cNvPr>
          <p:cNvSpPr/>
          <p:nvPr userDrawn="1"/>
        </p:nvSpPr>
        <p:spPr>
          <a:xfrm>
            <a:off x="9876592" y="4136698"/>
            <a:ext cx="90548" cy="9054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0" name="Oval 39">
            <a:extLst>
              <a:ext uri="{FF2B5EF4-FFF2-40B4-BE49-F238E27FC236}">
                <a16:creationId xmlns:a16="http://schemas.microsoft.com/office/drawing/2014/main" id="{AFB2B9B9-EC75-0F42-AE49-9F0DDDD46C93}"/>
              </a:ext>
            </a:extLst>
          </p:cNvPr>
          <p:cNvSpPr/>
          <p:nvPr userDrawn="1"/>
        </p:nvSpPr>
        <p:spPr>
          <a:xfrm>
            <a:off x="11682903" y="6155409"/>
            <a:ext cx="115247" cy="115247"/>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6" name="Oval 45">
            <a:extLst>
              <a:ext uri="{FF2B5EF4-FFF2-40B4-BE49-F238E27FC236}">
                <a16:creationId xmlns:a16="http://schemas.microsoft.com/office/drawing/2014/main" id="{B46D35AB-18C3-3841-AD71-3913B3CA7049}"/>
              </a:ext>
            </a:extLst>
          </p:cNvPr>
          <p:cNvSpPr/>
          <p:nvPr userDrawn="1"/>
        </p:nvSpPr>
        <p:spPr>
          <a:xfrm>
            <a:off x="15601056" y="4899953"/>
            <a:ext cx="2814158" cy="2814158"/>
          </a:xfrm>
          <a:prstGeom prst="ellipse">
            <a:avLst/>
          </a:prstGeom>
          <a:gradFill>
            <a:gsLst>
              <a:gs pos="0">
                <a:schemeClr val="accent3"/>
              </a:gs>
              <a:gs pos="92000">
                <a:schemeClr val="accent3">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47" name="Group 46">
            <a:extLst>
              <a:ext uri="{FF2B5EF4-FFF2-40B4-BE49-F238E27FC236}">
                <a16:creationId xmlns:a16="http://schemas.microsoft.com/office/drawing/2014/main" id="{4D4FBB82-8D46-C940-B9EB-A873C0DE617A}"/>
              </a:ext>
            </a:extLst>
          </p:cNvPr>
          <p:cNvGrpSpPr/>
          <p:nvPr userDrawn="1"/>
        </p:nvGrpSpPr>
        <p:grpSpPr>
          <a:xfrm>
            <a:off x="471601" y="443753"/>
            <a:ext cx="1087896" cy="425720"/>
            <a:chOff x="3562350" y="3567113"/>
            <a:chExt cx="3476625" cy="1360487"/>
          </a:xfrm>
          <a:solidFill>
            <a:schemeClr val="accent1"/>
          </a:solidFill>
        </p:grpSpPr>
        <p:sp>
          <p:nvSpPr>
            <p:cNvPr id="48" name="Freeform 1">
              <a:extLst>
                <a:ext uri="{FF2B5EF4-FFF2-40B4-BE49-F238E27FC236}">
                  <a16:creationId xmlns:a16="http://schemas.microsoft.com/office/drawing/2014/main" id="{4F1DC6F9-D79A-374E-96F4-D4144A67AA9E}"/>
                </a:ext>
              </a:extLst>
            </p:cNvPr>
            <p:cNvSpPr>
              <a:spLocks noChangeArrowheads="1"/>
            </p:cNvSpPr>
            <p:nvPr/>
          </p:nvSpPr>
          <p:spPr bwMode="auto">
            <a:xfrm>
              <a:off x="4710113" y="3800475"/>
              <a:ext cx="1136650" cy="1127125"/>
            </a:xfrm>
            <a:custGeom>
              <a:avLst/>
              <a:gdLst>
                <a:gd name="T0" fmla="*/ 10 w 3158"/>
                <a:gd name="T1" fmla="*/ 1539 h 3130"/>
                <a:gd name="T2" fmla="*/ 1599 w 3158"/>
                <a:gd name="T3" fmla="*/ 13 h 3130"/>
                <a:gd name="T4" fmla="*/ 3148 w 3158"/>
                <a:gd name="T5" fmla="*/ 1584 h 3130"/>
                <a:gd name="T6" fmla="*/ 1560 w 3158"/>
                <a:gd name="T7" fmla="*/ 3116 h 3130"/>
                <a:gd name="T8" fmla="*/ 10 w 3158"/>
                <a:gd name="T9" fmla="*/ 1545 h 3130"/>
                <a:gd name="T10" fmla="*/ 10 w 3158"/>
                <a:gd name="T11" fmla="*/ 1539 h 3130"/>
                <a:gd name="T12" fmla="*/ 711 w 3158"/>
                <a:gd name="T13" fmla="*/ 1553 h 3130"/>
                <a:gd name="T14" fmla="*/ 1568 w 3158"/>
                <a:gd name="T15" fmla="*/ 2456 h 3130"/>
                <a:gd name="T16" fmla="*/ 2446 w 3158"/>
                <a:gd name="T17" fmla="*/ 1570 h 3130"/>
                <a:gd name="T18" fmla="*/ 1591 w 3158"/>
                <a:gd name="T19" fmla="*/ 662 h 3130"/>
                <a:gd name="T20" fmla="*/ 712 w 3158"/>
                <a:gd name="T21" fmla="*/ 1548 h 3130"/>
                <a:gd name="T22" fmla="*/ 711 w 3158"/>
                <a:gd name="T23" fmla="*/ 1553 h 3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58" h="3130">
                  <a:moveTo>
                    <a:pt x="10" y="1539"/>
                  </a:moveTo>
                  <a:cubicBezTo>
                    <a:pt x="19" y="790"/>
                    <a:pt x="578" y="0"/>
                    <a:pt x="1599" y="13"/>
                  </a:cubicBezTo>
                  <a:cubicBezTo>
                    <a:pt x="2619" y="26"/>
                    <a:pt x="3157" y="830"/>
                    <a:pt x="3148" y="1584"/>
                  </a:cubicBezTo>
                  <a:cubicBezTo>
                    <a:pt x="3138" y="2341"/>
                    <a:pt x="2579" y="3129"/>
                    <a:pt x="1560" y="3116"/>
                  </a:cubicBezTo>
                  <a:cubicBezTo>
                    <a:pt x="539" y="3104"/>
                    <a:pt x="0" y="2302"/>
                    <a:pt x="10" y="1545"/>
                  </a:cubicBezTo>
                  <a:lnTo>
                    <a:pt x="10" y="1539"/>
                  </a:lnTo>
                  <a:close/>
                  <a:moveTo>
                    <a:pt x="711" y="1553"/>
                  </a:moveTo>
                  <a:cubicBezTo>
                    <a:pt x="705" y="2065"/>
                    <a:pt x="1089" y="2451"/>
                    <a:pt x="1568" y="2456"/>
                  </a:cubicBezTo>
                  <a:cubicBezTo>
                    <a:pt x="2047" y="2462"/>
                    <a:pt x="2440" y="2087"/>
                    <a:pt x="2446" y="1570"/>
                  </a:cubicBezTo>
                  <a:cubicBezTo>
                    <a:pt x="2453" y="1054"/>
                    <a:pt x="2070" y="669"/>
                    <a:pt x="1591" y="662"/>
                  </a:cubicBezTo>
                  <a:cubicBezTo>
                    <a:pt x="1112" y="656"/>
                    <a:pt x="718" y="1032"/>
                    <a:pt x="712" y="1548"/>
                  </a:cubicBezTo>
                  <a:lnTo>
                    <a:pt x="711" y="1553"/>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a:p>
          </p:txBody>
        </p:sp>
        <p:sp>
          <p:nvSpPr>
            <p:cNvPr id="49" name="Freeform 2">
              <a:extLst>
                <a:ext uri="{FF2B5EF4-FFF2-40B4-BE49-F238E27FC236}">
                  <a16:creationId xmlns:a16="http://schemas.microsoft.com/office/drawing/2014/main" id="{DEBACDF8-76FB-FA4D-8778-520CDA984F37}"/>
                </a:ext>
              </a:extLst>
            </p:cNvPr>
            <p:cNvSpPr>
              <a:spLocks noChangeArrowheads="1"/>
            </p:cNvSpPr>
            <p:nvPr/>
          </p:nvSpPr>
          <p:spPr bwMode="auto">
            <a:xfrm>
              <a:off x="5969000" y="3567113"/>
              <a:ext cx="455613" cy="1338262"/>
            </a:xfrm>
            <a:custGeom>
              <a:avLst/>
              <a:gdLst>
                <a:gd name="T0" fmla="*/ 971 w 1264"/>
                <a:gd name="T1" fmla="*/ 3165 h 3717"/>
                <a:gd name="T2" fmla="*/ 765 w 1264"/>
                <a:gd name="T3" fmla="*/ 2983 h 3717"/>
                <a:gd name="T4" fmla="*/ 803 w 1264"/>
                <a:gd name="T5" fmla="*/ 9 h 3717"/>
                <a:gd name="T6" fmla="*/ 101 w 1264"/>
                <a:gd name="T7" fmla="*/ 0 h 3717"/>
                <a:gd name="T8" fmla="*/ 64 w 1264"/>
                <a:gd name="T9" fmla="*/ 2965 h 3717"/>
                <a:gd name="T10" fmla="*/ 696 w 1264"/>
                <a:gd name="T11" fmla="*/ 3708 h 3717"/>
                <a:gd name="T12" fmla="*/ 696 w 1264"/>
                <a:gd name="T13" fmla="*/ 3709 h 3717"/>
                <a:gd name="T14" fmla="*/ 1256 w 1264"/>
                <a:gd name="T15" fmla="*/ 3716 h 3717"/>
                <a:gd name="T16" fmla="*/ 1263 w 1264"/>
                <a:gd name="T17" fmla="*/ 3168 h 3717"/>
                <a:gd name="T18" fmla="*/ 971 w 1264"/>
                <a:gd name="T19" fmla="*/ 3165 h 37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64" h="3717">
                  <a:moveTo>
                    <a:pt x="971" y="3165"/>
                  </a:moveTo>
                  <a:cubicBezTo>
                    <a:pt x="971" y="3165"/>
                    <a:pt x="768" y="3164"/>
                    <a:pt x="765" y="2983"/>
                  </a:cubicBezTo>
                  <a:lnTo>
                    <a:pt x="803" y="9"/>
                  </a:lnTo>
                  <a:lnTo>
                    <a:pt x="101" y="0"/>
                  </a:lnTo>
                  <a:lnTo>
                    <a:pt x="64" y="2965"/>
                  </a:lnTo>
                  <a:cubicBezTo>
                    <a:pt x="64" y="2965"/>
                    <a:pt x="0" y="3699"/>
                    <a:pt x="696" y="3708"/>
                  </a:cubicBezTo>
                  <a:lnTo>
                    <a:pt x="696" y="3709"/>
                  </a:lnTo>
                  <a:lnTo>
                    <a:pt x="1256" y="3716"/>
                  </a:lnTo>
                  <a:lnTo>
                    <a:pt x="1263" y="3168"/>
                  </a:lnTo>
                  <a:lnTo>
                    <a:pt x="971" y="316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a:p>
          </p:txBody>
        </p:sp>
        <p:sp>
          <p:nvSpPr>
            <p:cNvPr id="50" name="Freeform 3">
              <a:extLst>
                <a:ext uri="{FF2B5EF4-FFF2-40B4-BE49-F238E27FC236}">
                  <a16:creationId xmlns:a16="http://schemas.microsoft.com/office/drawing/2014/main" id="{F1CD4D5D-0948-614D-80B4-8D27DAC82E25}"/>
                </a:ext>
              </a:extLst>
            </p:cNvPr>
            <p:cNvSpPr>
              <a:spLocks noChangeArrowheads="1"/>
            </p:cNvSpPr>
            <p:nvPr/>
          </p:nvSpPr>
          <p:spPr bwMode="auto">
            <a:xfrm>
              <a:off x="3562350" y="3786188"/>
              <a:ext cx="1069975" cy="1127125"/>
            </a:xfrm>
            <a:custGeom>
              <a:avLst/>
              <a:gdLst>
                <a:gd name="T0" fmla="*/ 2366 w 2971"/>
                <a:gd name="T1" fmla="*/ 1976 h 3132"/>
                <a:gd name="T2" fmla="*/ 1569 w 2971"/>
                <a:gd name="T3" fmla="*/ 2468 h 3132"/>
                <a:gd name="T4" fmla="*/ 716 w 2971"/>
                <a:gd name="T5" fmla="*/ 1556 h 3132"/>
                <a:gd name="T6" fmla="*/ 966 w 2971"/>
                <a:gd name="T7" fmla="*/ 910 h 3132"/>
                <a:gd name="T8" fmla="*/ 1593 w 2971"/>
                <a:gd name="T9" fmla="*/ 667 h 3132"/>
                <a:gd name="T10" fmla="*/ 2376 w 2971"/>
                <a:gd name="T11" fmla="*/ 1201 h 3132"/>
                <a:gd name="T12" fmla="*/ 2970 w 2971"/>
                <a:gd name="T13" fmla="*/ 871 h 3132"/>
                <a:gd name="T14" fmla="*/ 1576 w 2971"/>
                <a:gd name="T15" fmla="*/ 12 h 3132"/>
                <a:gd name="T16" fmla="*/ 11 w 2971"/>
                <a:gd name="T17" fmla="*/ 1545 h 3132"/>
                <a:gd name="T18" fmla="*/ 1559 w 2971"/>
                <a:gd name="T19" fmla="*/ 3123 h 3132"/>
                <a:gd name="T20" fmla="*/ 2950 w 2971"/>
                <a:gd name="T21" fmla="*/ 2314 h 3132"/>
                <a:gd name="T22" fmla="*/ 2379 w 2971"/>
                <a:gd name="T23" fmla="*/ 1977 h 3132"/>
                <a:gd name="T24" fmla="*/ 2366 w 2971"/>
                <a:gd name="T25" fmla="*/ 1976 h 3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71" h="3132">
                  <a:moveTo>
                    <a:pt x="2366" y="1976"/>
                  </a:moveTo>
                  <a:cubicBezTo>
                    <a:pt x="2256" y="2216"/>
                    <a:pt x="2006" y="2472"/>
                    <a:pt x="1569" y="2468"/>
                  </a:cubicBezTo>
                  <a:cubicBezTo>
                    <a:pt x="1072" y="2462"/>
                    <a:pt x="710" y="2081"/>
                    <a:pt x="716" y="1556"/>
                  </a:cubicBezTo>
                  <a:cubicBezTo>
                    <a:pt x="720" y="1300"/>
                    <a:pt x="815" y="1064"/>
                    <a:pt x="966" y="910"/>
                  </a:cubicBezTo>
                  <a:cubicBezTo>
                    <a:pt x="1138" y="742"/>
                    <a:pt x="1337" y="657"/>
                    <a:pt x="1593" y="667"/>
                  </a:cubicBezTo>
                  <a:cubicBezTo>
                    <a:pt x="1976" y="670"/>
                    <a:pt x="2254" y="891"/>
                    <a:pt x="2376" y="1201"/>
                  </a:cubicBezTo>
                  <a:lnTo>
                    <a:pt x="2970" y="871"/>
                  </a:lnTo>
                  <a:cubicBezTo>
                    <a:pt x="2716" y="350"/>
                    <a:pt x="2184" y="19"/>
                    <a:pt x="1576" y="12"/>
                  </a:cubicBezTo>
                  <a:cubicBezTo>
                    <a:pt x="696" y="0"/>
                    <a:pt x="22" y="683"/>
                    <a:pt x="11" y="1545"/>
                  </a:cubicBezTo>
                  <a:cubicBezTo>
                    <a:pt x="0" y="2384"/>
                    <a:pt x="634" y="3111"/>
                    <a:pt x="1559" y="3123"/>
                  </a:cubicBezTo>
                  <a:cubicBezTo>
                    <a:pt x="2184" y="3131"/>
                    <a:pt x="2691" y="2793"/>
                    <a:pt x="2950" y="2314"/>
                  </a:cubicBezTo>
                  <a:lnTo>
                    <a:pt x="2379" y="1977"/>
                  </a:lnTo>
                  <a:lnTo>
                    <a:pt x="2366" y="197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a:p>
          </p:txBody>
        </p:sp>
        <p:sp>
          <p:nvSpPr>
            <p:cNvPr id="51" name="Freeform 4">
              <a:extLst>
                <a:ext uri="{FF2B5EF4-FFF2-40B4-BE49-F238E27FC236}">
                  <a16:creationId xmlns:a16="http://schemas.microsoft.com/office/drawing/2014/main" id="{F71F9BC0-5183-F441-B732-0A0E3508E9C3}"/>
                </a:ext>
              </a:extLst>
            </p:cNvPr>
            <p:cNvSpPr>
              <a:spLocks noChangeArrowheads="1"/>
            </p:cNvSpPr>
            <p:nvPr/>
          </p:nvSpPr>
          <p:spPr bwMode="auto">
            <a:xfrm>
              <a:off x="6546850" y="3575050"/>
              <a:ext cx="492125" cy="1338263"/>
            </a:xfrm>
            <a:custGeom>
              <a:avLst/>
              <a:gdLst>
                <a:gd name="T0" fmla="*/ 960 w 1365"/>
                <a:gd name="T1" fmla="*/ 3164 h 3718"/>
                <a:gd name="T2" fmla="*/ 753 w 1365"/>
                <a:gd name="T3" fmla="*/ 2983 h 3718"/>
                <a:gd name="T4" fmla="*/ 773 w 1365"/>
                <a:gd name="T5" fmla="*/ 1401 h 3718"/>
                <a:gd name="T6" fmla="*/ 1336 w 1365"/>
                <a:gd name="T7" fmla="*/ 1408 h 3718"/>
                <a:gd name="T8" fmla="*/ 1343 w 1365"/>
                <a:gd name="T9" fmla="*/ 860 h 3718"/>
                <a:gd name="T10" fmla="*/ 780 w 1365"/>
                <a:gd name="T11" fmla="*/ 853 h 3718"/>
                <a:gd name="T12" fmla="*/ 791 w 1365"/>
                <a:gd name="T13" fmla="*/ 9 h 3718"/>
                <a:gd name="T14" fmla="*/ 89 w 1365"/>
                <a:gd name="T15" fmla="*/ 0 h 3718"/>
                <a:gd name="T16" fmla="*/ 51 w 1365"/>
                <a:gd name="T17" fmla="*/ 2965 h 3718"/>
                <a:gd name="T18" fmla="*/ 683 w 1365"/>
                <a:gd name="T19" fmla="*/ 3708 h 3718"/>
                <a:gd name="T20" fmla="*/ 684 w 1365"/>
                <a:gd name="T21" fmla="*/ 3708 h 3718"/>
                <a:gd name="T22" fmla="*/ 1357 w 1365"/>
                <a:gd name="T23" fmla="*/ 3717 h 3718"/>
                <a:gd name="T24" fmla="*/ 1364 w 1365"/>
                <a:gd name="T25" fmla="*/ 3169 h 3718"/>
                <a:gd name="T26" fmla="*/ 960 w 1365"/>
                <a:gd name="T27" fmla="*/ 3164 h 3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65" h="3718">
                  <a:moveTo>
                    <a:pt x="960" y="3164"/>
                  </a:moveTo>
                  <a:cubicBezTo>
                    <a:pt x="960" y="3164"/>
                    <a:pt x="756" y="3164"/>
                    <a:pt x="753" y="2983"/>
                  </a:cubicBezTo>
                  <a:lnTo>
                    <a:pt x="773" y="1401"/>
                  </a:lnTo>
                  <a:lnTo>
                    <a:pt x="1336" y="1408"/>
                  </a:lnTo>
                  <a:lnTo>
                    <a:pt x="1343" y="860"/>
                  </a:lnTo>
                  <a:lnTo>
                    <a:pt x="780" y="853"/>
                  </a:lnTo>
                  <a:lnTo>
                    <a:pt x="791" y="9"/>
                  </a:lnTo>
                  <a:lnTo>
                    <a:pt x="89" y="0"/>
                  </a:lnTo>
                  <a:lnTo>
                    <a:pt x="51" y="2965"/>
                  </a:lnTo>
                  <a:cubicBezTo>
                    <a:pt x="51" y="2965"/>
                    <a:pt x="0" y="3701"/>
                    <a:pt x="683" y="3708"/>
                  </a:cubicBezTo>
                  <a:lnTo>
                    <a:pt x="684" y="3708"/>
                  </a:lnTo>
                  <a:lnTo>
                    <a:pt x="1357" y="3717"/>
                  </a:lnTo>
                  <a:lnTo>
                    <a:pt x="1364" y="3169"/>
                  </a:lnTo>
                  <a:lnTo>
                    <a:pt x="960" y="316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a:p>
          </p:txBody>
        </p:sp>
      </p:grpSp>
      <p:sp>
        <p:nvSpPr>
          <p:cNvPr id="55" name="Title 1">
            <a:extLst>
              <a:ext uri="{FF2B5EF4-FFF2-40B4-BE49-F238E27FC236}">
                <a16:creationId xmlns:a16="http://schemas.microsoft.com/office/drawing/2014/main" id="{DFD9AE63-3AB3-9141-9D2C-BC968185C790}"/>
              </a:ext>
            </a:extLst>
          </p:cNvPr>
          <p:cNvSpPr>
            <a:spLocks noGrp="1"/>
          </p:cNvSpPr>
          <p:nvPr>
            <p:ph type="ctrTitle" hasCustomPrompt="1"/>
          </p:nvPr>
        </p:nvSpPr>
        <p:spPr>
          <a:xfrm>
            <a:off x="1343025" y="2286000"/>
            <a:ext cx="5616575" cy="1884008"/>
          </a:xfrm>
        </p:spPr>
        <p:txBody>
          <a:bodyPr>
            <a:normAutofit/>
          </a:bodyPr>
          <a:lstStyle>
            <a:lvl1pPr marL="0" indent="0" algn="l">
              <a:lnSpc>
                <a:spcPct val="100000"/>
              </a:lnSpc>
              <a:buFont typeface="Arial" panose="020B0604020202020204" pitchFamily="34" charset="0"/>
              <a:buNone/>
              <a:defRPr sz="5400" b="1" i="0" baseline="0">
                <a:solidFill>
                  <a:schemeClr val="accent1"/>
                </a:solidFill>
              </a:defRPr>
            </a:lvl1pPr>
          </a:lstStyle>
          <a:p>
            <a:r>
              <a:rPr lang="en-GB" dirty="0"/>
              <a:t>Title Slide</a:t>
            </a:r>
            <a:endParaRPr lang="en-GB" noProof="0" dirty="0"/>
          </a:p>
        </p:txBody>
      </p:sp>
      <p:sp>
        <p:nvSpPr>
          <p:cNvPr id="56" name="Subtitle 2">
            <a:extLst>
              <a:ext uri="{FF2B5EF4-FFF2-40B4-BE49-F238E27FC236}">
                <a16:creationId xmlns:a16="http://schemas.microsoft.com/office/drawing/2014/main" id="{DF59F4AD-536C-374F-A67B-B114ABAB2A07}"/>
              </a:ext>
            </a:extLst>
          </p:cNvPr>
          <p:cNvSpPr>
            <a:spLocks noGrp="1"/>
          </p:cNvSpPr>
          <p:nvPr>
            <p:ph type="subTitle" idx="1"/>
          </p:nvPr>
        </p:nvSpPr>
        <p:spPr>
          <a:xfrm>
            <a:off x="1343025" y="4170008"/>
            <a:ext cx="5597668" cy="1154381"/>
          </a:xfrm>
        </p:spPr>
        <p:txBody>
          <a:bodyPr>
            <a:normAutofit/>
          </a:bodyPr>
          <a:lstStyle>
            <a:lvl1pPr marL="0" indent="0" algn="l">
              <a:lnSpc>
                <a:spcPct val="100000"/>
              </a:lnSpc>
              <a:spcAft>
                <a:spcPts val="0"/>
              </a:spcAft>
              <a:buFont typeface="Arial" panose="020B0604020202020204" pitchFamily="34" charset="0"/>
              <a:buNone/>
              <a:defRPr sz="2800">
                <a:solidFill>
                  <a:schemeClr val="accent4"/>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Click to edit Master subtitle style</a:t>
            </a:r>
            <a:endParaRPr lang="en-GB" noProof="0" dirty="0"/>
          </a:p>
        </p:txBody>
      </p:sp>
      <p:sp>
        <p:nvSpPr>
          <p:cNvPr id="57" name="Date Placeholder 3">
            <a:extLst>
              <a:ext uri="{FF2B5EF4-FFF2-40B4-BE49-F238E27FC236}">
                <a16:creationId xmlns:a16="http://schemas.microsoft.com/office/drawing/2014/main" id="{819F8344-45D5-014F-BB2F-AB61410485E5}"/>
              </a:ext>
            </a:extLst>
          </p:cNvPr>
          <p:cNvSpPr>
            <a:spLocks noGrp="1"/>
          </p:cNvSpPr>
          <p:nvPr>
            <p:ph type="dt" sz="half" idx="10"/>
          </p:nvPr>
        </p:nvSpPr>
        <p:spPr>
          <a:xfrm>
            <a:off x="1343025" y="5324388"/>
            <a:ext cx="3776460" cy="339811"/>
          </a:xfrm>
          <a:prstGeom prst="rect">
            <a:avLst/>
          </a:prstGeom>
        </p:spPr>
        <p:txBody>
          <a:bodyPr lIns="0" anchor="t" anchorCtr="0"/>
          <a:lstStyle>
            <a:lvl1pPr>
              <a:lnSpc>
                <a:spcPts val="1590"/>
              </a:lnSpc>
              <a:defRPr sz="1410" b="1">
                <a:solidFill>
                  <a:schemeClr val="accent6"/>
                </a:solidFill>
              </a:defRPr>
            </a:lvl1pPr>
          </a:lstStyle>
          <a:p>
            <a:r>
              <a:rPr lang="en-GB" dirty="0"/>
              <a:t>Date</a:t>
            </a:r>
          </a:p>
        </p:txBody>
      </p:sp>
    </p:spTree>
    <p:extLst>
      <p:ext uri="{BB962C8B-B14F-4D97-AF65-F5344CB8AC3E}">
        <p14:creationId xmlns:p14="http://schemas.microsoft.com/office/powerpoint/2010/main" val="2978681778"/>
      </p:ext>
    </p:extLst>
  </p:cSld>
  <p:clrMapOvr>
    <a:masterClrMapping/>
  </p:clrMapOvr>
  <p:extLst>
    <p:ext uri="{DCECCB84-F9BA-43D5-87BE-67443E8EF086}">
      <p15:sldGuideLst xmlns:p15="http://schemas.microsoft.com/office/powerpoint/2012/main">
        <p15:guide id="1" orient="horz" pos="3703">
          <p15:clr>
            <a:srgbClr val="FBAE40"/>
          </p15:clr>
        </p15:guide>
        <p15:guide id="2" pos="4384">
          <p15:clr>
            <a:srgbClr val="FBAE40"/>
          </p15:clr>
        </p15:guide>
        <p15:guide id="3" pos="846">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E12119-86A6-4E7D-9337-BB0BB386B3C7}"/>
              </a:ext>
            </a:extLst>
          </p:cNvPr>
          <p:cNvSpPr>
            <a:spLocks noGrp="1"/>
          </p:cNvSpPr>
          <p:nvPr>
            <p:ph type="title"/>
          </p:nvPr>
        </p:nvSpPr>
        <p:spPr/>
        <p:txBody>
          <a:bodyPr/>
          <a:lstStyle/>
          <a:p>
            <a:r>
              <a:rPr lang="en-US"/>
              <a:t>Click to edit Master title style</a:t>
            </a:r>
            <a:endParaRPr lang="en-GB"/>
          </a:p>
        </p:txBody>
      </p:sp>
      <p:sp>
        <p:nvSpPr>
          <p:cNvPr id="5" name="Slide Number Placeholder 4">
            <a:extLst>
              <a:ext uri="{FF2B5EF4-FFF2-40B4-BE49-F238E27FC236}">
                <a16:creationId xmlns:a16="http://schemas.microsoft.com/office/drawing/2014/main" id="{95620BF2-5E13-462E-84D6-168F0AE43F14}"/>
              </a:ext>
            </a:extLst>
          </p:cNvPr>
          <p:cNvSpPr>
            <a:spLocks noGrp="1"/>
          </p:cNvSpPr>
          <p:nvPr>
            <p:ph type="sldNum" sz="quarter" idx="12"/>
          </p:nvPr>
        </p:nvSpPr>
        <p:spPr>
          <a:xfrm>
            <a:off x="11278800" y="6400800"/>
            <a:ext cx="442800" cy="226800"/>
          </a:xfrm>
        </p:spPr>
        <p:txBody>
          <a:bodyPr vert="horz" lIns="0" tIns="0" rIns="0" bIns="0" rtlCol="0" anchor="t" anchorCtr="0">
            <a:noAutofit/>
          </a:bodyPr>
          <a:lstStyle>
            <a:lvl1pPr>
              <a:defRPr lang="en-GB" smtClean="0"/>
            </a:lvl1pPr>
          </a:lstStyle>
          <a:p>
            <a:pPr algn="r">
              <a:lnSpc>
                <a:spcPts val="970"/>
              </a:lnSpc>
            </a:pPr>
            <a:fld id="{24A935F8-6F02-46CF-898B-F9D6B7DB9D8E}" type="slidenum">
              <a:rPr lang="en-GB" smtClean="0"/>
              <a:pPr algn="r">
                <a:lnSpc>
                  <a:spcPts val="970"/>
                </a:lnSpc>
              </a:pPr>
              <a:t>‹#›</a:t>
            </a:fld>
            <a:endParaRPr lang="en-GB"/>
          </a:p>
        </p:txBody>
      </p:sp>
    </p:spTree>
    <p:extLst>
      <p:ext uri="{BB962C8B-B14F-4D97-AF65-F5344CB8AC3E}">
        <p14:creationId xmlns:p14="http://schemas.microsoft.com/office/powerpoint/2010/main" val="370005188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5E786DCD-3892-42DF-9819-C1068BCF4A64}"/>
              </a:ext>
            </a:extLst>
          </p:cNvPr>
          <p:cNvSpPr>
            <a:spLocks noGrp="1"/>
          </p:cNvSpPr>
          <p:nvPr>
            <p:ph type="sldNum" sz="quarter" idx="12"/>
          </p:nvPr>
        </p:nvSpPr>
        <p:spPr>
          <a:xfrm>
            <a:off x="11278800" y="6400800"/>
            <a:ext cx="442800" cy="226800"/>
          </a:xfrm>
        </p:spPr>
        <p:txBody>
          <a:bodyPr vert="horz" lIns="0" tIns="0" rIns="0" bIns="0" rtlCol="0" anchor="t" anchorCtr="0">
            <a:noAutofit/>
          </a:bodyPr>
          <a:lstStyle>
            <a:lvl1pPr>
              <a:defRPr lang="en-GB" smtClean="0"/>
            </a:lvl1pPr>
          </a:lstStyle>
          <a:p>
            <a:pPr algn="r">
              <a:lnSpc>
                <a:spcPts val="970"/>
              </a:lnSpc>
            </a:pPr>
            <a:fld id="{24A935F8-6F02-46CF-898B-F9D6B7DB9D8E}" type="slidenum">
              <a:rPr lang="en-GB" smtClean="0"/>
              <a:pPr algn="r">
                <a:lnSpc>
                  <a:spcPts val="970"/>
                </a:lnSpc>
              </a:pPr>
              <a:t>‹#›</a:t>
            </a:fld>
            <a:endParaRPr lang="en-GB"/>
          </a:p>
        </p:txBody>
      </p:sp>
    </p:spTree>
    <p:extLst>
      <p:ext uri="{BB962C8B-B14F-4D97-AF65-F5344CB8AC3E}">
        <p14:creationId xmlns:p14="http://schemas.microsoft.com/office/powerpoint/2010/main" val="6552150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ontent + image">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a:xfrm>
            <a:off x="11278800" y="6400800"/>
            <a:ext cx="442800" cy="226800"/>
          </a:xfrm>
          <a:prstGeom prst="rect">
            <a:avLst/>
          </a:prstGeom>
        </p:spPr>
        <p:txBody>
          <a:bodyPr/>
          <a:lstStyle>
            <a:lvl1pPr algn="r">
              <a:defRPr/>
            </a:lvl1pPr>
          </a:lstStyle>
          <a:p>
            <a:pPr algn="r"/>
            <a:fld id="{0B868178-02AE-42FC-958D-6B8F13B60175}" type="slidenum">
              <a:rPr lang="en-GB" smtClean="0"/>
              <a:pPr/>
              <a:t>‹#›</a:t>
            </a:fld>
            <a:endParaRPr lang="en-GB"/>
          </a:p>
        </p:txBody>
      </p:sp>
      <p:sp>
        <p:nvSpPr>
          <p:cNvPr id="10" name="Picture Placeholder 9">
            <a:extLst>
              <a:ext uri="{FF2B5EF4-FFF2-40B4-BE49-F238E27FC236}">
                <a16:creationId xmlns:a16="http://schemas.microsoft.com/office/drawing/2014/main" id="{78197322-D7FA-408C-A0C4-BF46DABA7259}"/>
              </a:ext>
            </a:extLst>
          </p:cNvPr>
          <p:cNvSpPr>
            <a:spLocks noGrp="1"/>
          </p:cNvSpPr>
          <p:nvPr>
            <p:ph type="pic" sz="quarter" idx="14"/>
          </p:nvPr>
        </p:nvSpPr>
        <p:spPr>
          <a:xfrm>
            <a:off x="5774400" y="457200"/>
            <a:ext cx="5943600" cy="5943600"/>
          </a:xfrm>
          <a:prstGeom prst="ellipse">
            <a:avLst/>
          </a:prstGeom>
          <a:solidFill>
            <a:schemeClr val="accent1">
              <a:alpha val="15000"/>
            </a:schemeClr>
          </a:solidFill>
        </p:spPr>
        <p:txBody>
          <a:bodyPr/>
          <a:lstStyle>
            <a:lvl1pPr marL="0" indent="0" algn="ctr">
              <a:buNone/>
              <a:defRPr>
                <a:solidFill>
                  <a:schemeClr val="accent2"/>
                </a:solidFill>
              </a:defRPr>
            </a:lvl1pPr>
          </a:lstStyle>
          <a:p>
            <a:r>
              <a:rPr lang="en-US"/>
              <a:t>Click icon to add picture</a:t>
            </a:r>
            <a:endParaRPr lang="en-GB" dirty="0"/>
          </a:p>
        </p:txBody>
      </p:sp>
      <p:sp>
        <p:nvSpPr>
          <p:cNvPr id="3" name="Title 2">
            <a:extLst>
              <a:ext uri="{FF2B5EF4-FFF2-40B4-BE49-F238E27FC236}">
                <a16:creationId xmlns:a16="http://schemas.microsoft.com/office/drawing/2014/main" id="{DE094B15-835E-4329-B278-BE639DAB2533}"/>
              </a:ext>
            </a:extLst>
          </p:cNvPr>
          <p:cNvSpPr>
            <a:spLocks noGrp="1"/>
          </p:cNvSpPr>
          <p:nvPr>
            <p:ph type="title"/>
          </p:nvPr>
        </p:nvSpPr>
        <p:spPr>
          <a:xfrm>
            <a:off x="442913" y="441326"/>
            <a:ext cx="5653087" cy="935038"/>
          </a:xfrm>
        </p:spPr>
        <p:txBody>
          <a:bodyPr/>
          <a:lstStyle/>
          <a:p>
            <a:r>
              <a:rPr lang="en-US"/>
              <a:t>Click to edit Master title style</a:t>
            </a:r>
            <a:endParaRPr lang="en-GB"/>
          </a:p>
        </p:txBody>
      </p:sp>
      <p:sp>
        <p:nvSpPr>
          <p:cNvPr id="5" name="Content Placeholder 4">
            <a:extLst>
              <a:ext uri="{FF2B5EF4-FFF2-40B4-BE49-F238E27FC236}">
                <a16:creationId xmlns:a16="http://schemas.microsoft.com/office/drawing/2014/main" id="{228FA973-368D-4BDC-95C3-8DAF4528014E}"/>
              </a:ext>
            </a:extLst>
          </p:cNvPr>
          <p:cNvSpPr>
            <a:spLocks noGrp="1"/>
          </p:cNvSpPr>
          <p:nvPr>
            <p:ph sz="quarter" idx="15"/>
          </p:nvPr>
        </p:nvSpPr>
        <p:spPr>
          <a:xfrm>
            <a:off x="442913" y="1376363"/>
            <a:ext cx="4860999" cy="47894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73684822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Quote + image">
    <p:spTree>
      <p:nvGrpSpPr>
        <p:cNvPr id="1" name=""/>
        <p:cNvGrpSpPr/>
        <p:nvPr/>
      </p:nvGrpSpPr>
      <p:grpSpPr>
        <a:xfrm>
          <a:off x="0" y="0"/>
          <a:ext cx="0" cy="0"/>
          <a:chOff x="0" y="0"/>
          <a:chExt cx="0" cy="0"/>
        </a:xfrm>
      </p:grpSpPr>
      <p:sp>
        <p:nvSpPr>
          <p:cNvPr id="33" name="Picture Placeholder 32">
            <a:extLst>
              <a:ext uri="{FF2B5EF4-FFF2-40B4-BE49-F238E27FC236}">
                <a16:creationId xmlns:a16="http://schemas.microsoft.com/office/drawing/2014/main" id="{EE305B53-48B4-42B8-8B37-FBD05A465604}"/>
              </a:ext>
            </a:extLst>
          </p:cNvPr>
          <p:cNvSpPr>
            <a:spLocks noGrp="1"/>
          </p:cNvSpPr>
          <p:nvPr>
            <p:ph type="pic" sz="quarter" idx="19"/>
          </p:nvPr>
        </p:nvSpPr>
        <p:spPr>
          <a:xfrm>
            <a:off x="5623200" y="-11873"/>
            <a:ext cx="6569090" cy="6869874"/>
          </a:xfrm>
          <a:custGeom>
            <a:avLst/>
            <a:gdLst>
              <a:gd name="connsiteX0" fmla="*/ 6563422 w 6569090"/>
              <a:gd name="connsiteY0" fmla="*/ 0 h 6869874"/>
              <a:gd name="connsiteX1" fmla="*/ 6568813 w 6569090"/>
              <a:gd name="connsiteY1" fmla="*/ 3429020 h 6869874"/>
              <a:gd name="connsiteX2" fmla="*/ 6563424 w 6569090"/>
              <a:gd name="connsiteY2" fmla="*/ 6869874 h 6869874"/>
              <a:gd name="connsiteX3" fmla="*/ 5598102 w 6569090"/>
              <a:gd name="connsiteY3" fmla="*/ 6863247 h 6869874"/>
              <a:gd name="connsiteX4" fmla="*/ 5593432 w 6569090"/>
              <a:gd name="connsiteY4" fmla="*/ 6869873 h 6869874"/>
              <a:gd name="connsiteX5" fmla="*/ 694321 w 6569090"/>
              <a:gd name="connsiteY5" fmla="*/ 6869873 h 6869874"/>
              <a:gd name="connsiteX6" fmla="*/ 536925 w 6569090"/>
              <a:gd name="connsiteY6" fmla="*/ 6646564 h 6869874"/>
              <a:gd name="connsiteX7" fmla="*/ 0 w 6569090"/>
              <a:gd name="connsiteY7" fmla="*/ 4781674 h 6869874"/>
              <a:gd name="connsiteX8" fmla="*/ 1144079 w 6569090"/>
              <a:gd name="connsiteY8" fmla="*/ 2207868 h 6869874"/>
              <a:gd name="connsiteX9" fmla="*/ 1295043 w 6569090"/>
              <a:gd name="connsiteY9" fmla="*/ 2088100 h 6869874"/>
              <a:gd name="connsiteX10" fmla="*/ 1291950 w 6569090"/>
              <a:gd name="connsiteY10" fmla="*/ 2080019 h 6869874"/>
              <a:gd name="connsiteX11" fmla="*/ 4769510 w 6569090"/>
              <a:gd name="connsiteY11" fmla="*/ 7088 h 6869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569090" h="6869874">
                <a:moveTo>
                  <a:pt x="6563422" y="0"/>
                </a:moveTo>
                <a:cubicBezTo>
                  <a:pt x="6565219" y="1143007"/>
                  <a:pt x="6567016" y="2286013"/>
                  <a:pt x="6568813" y="3429020"/>
                </a:cubicBezTo>
                <a:cubicBezTo>
                  <a:pt x="6570796" y="4575972"/>
                  <a:pt x="6561440" y="5722923"/>
                  <a:pt x="6563424" y="6869874"/>
                </a:cubicBezTo>
                <a:lnTo>
                  <a:pt x="5598102" y="6863247"/>
                </a:lnTo>
                <a:lnTo>
                  <a:pt x="5593432" y="6869873"/>
                </a:lnTo>
                <a:lnTo>
                  <a:pt x="694321" y="6869873"/>
                </a:lnTo>
                <a:lnTo>
                  <a:pt x="536925" y="6646564"/>
                </a:lnTo>
                <a:cubicBezTo>
                  <a:pt x="197939" y="6114220"/>
                  <a:pt x="0" y="5472471"/>
                  <a:pt x="0" y="4781674"/>
                </a:cubicBezTo>
                <a:cubicBezTo>
                  <a:pt x="0" y="3745478"/>
                  <a:pt x="445361" y="2819641"/>
                  <a:pt x="1144079" y="2207868"/>
                </a:cubicBezTo>
                <a:lnTo>
                  <a:pt x="1295043" y="2088100"/>
                </a:lnTo>
                <a:lnTo>
                  <a:pt x="1291950" y="2080019"/>
                </a:lnTo>
                <a:cubicBezTo>
                  <a:pt x="2479713" y="1245077"/>
                  <a:pt x="3562699" y="694900"/>
                  <a:pt x="4769510" y="7088"/>
                </a:cubicBezTo>
                <a:close/>
              </a:path>
            </a:pathLst>
          </a:custGeom>
          <a:solidFill>
            <a:schemeClr val="accent1">
              <a:alpha val="15000"/>
            </a:schemeClr>
          </a:solidFill>
          <a:ln>
            <a:noFill/>
          </a:ln>
        </p:spPr>
        <p:txBody>
          <a:bodyPr wrap="square">
            <a:noAutofit/>
          </a:bodyPr>
          <a:lstStyle>
            <a:lvl1pPr marL="0" indent="0" algn="r">
              <a:buNone/>
              <a:defRPr>
                <a:solidFill>
                  <a:schemeClr val="accent2"/>
                </a:solidFill>
              </a:defRPr>
            </a:lvl1pPr>
          </a:lstStyle>
          <a:p>
            <a:r>
              <a:rPr lang="en-US"/>
              <a:t>Click icon to add picture</a:t>
            </a:r>
            <a:endParaRPr lang="en-GB"/>
          </a:p>
        </p:txBody>
      </p:sp>
      <p:sp>
        <p:nvSpPr>
          <p:cNvPr id="7" name="Slide Number Placeholder 6">
            <a:extLst>
              <a:ext uri="{FF2B5EF4-FFF2-40B4-BE49-F238E27FC236}">
                <a16:creationId xmlns:a16="http://schemas.microsoft.com/office/drawing/2014/main" id="{083AA513-3096-463D-86CC-9463654915BB}"/>
              </a:ext>
            </a:extLst>
          </p:cNvPr>
          <p:cNvSpPr>
            <a:spLocks noGrp="1"/>
          </p:cNvSpPr>
          <p:nvPr>
            <p:ph type="sldNum" sz="quarter" idx="14"/>
          </p:nvPr>
        </p:nvSpPr>
        <p:spPr>
          <a:xfrm>
            <a:off x="11278800" y="6400800"/>
            <a:ext cx="442800" cy="226800"/>
          </a:xfrm>
          <a:prstGeom prst="rect">
            <a:avLst/>
          </a:prstGeom>
        </p:spPr>
        <p:txBody>
          <a:bodyPr/>
          <a:lstStyle/>
          <a:p>
            <a:pPr algn="r">
              <a:lnSpc>
                <a:spcPts val="970"/>
              </a:lnSpc>
            </a:pPr>
            <a:fld id="{0B868178-02AE-42FC-958D-6B8F13B60175}" type="slidenum">
              <a:rPr lang="en-GB" smtClean="0"/>
              <a:pPr algn="r">
                <a:lnSpc>
                  <a:spcPts val="970"/>
                </a:lnSpc>
              </a:pPr>
              <a:t>‹#›</a:t>
            </a:fld>
            <a:endParaRPr lang="en-GB" sz="800" noProof="0">
              <a:solidFill>
                <a:schemeClr val="bg1"/>
              </a:solidFill>
            </a:endParaRPr>
          </a:p>
        </p:txBody>
      </p:sp>
      <p:sp>
        <p:nvSpPr>
          <p:cNvPr id="3" name="Title 2">
            <a:extLst>
              <a:ext uri="{FF2B5EF4-FFF2-40B4-BE49-F238E27FC236}">
                <a16:creationId xmlns:a16="http://schemas.microsoft.com/office/drawing/2014/main" id="{E980F9A7-5884-45A2-8D6E-4AD7C3B3CB52}"/>
              </a:ext>
            </a:extLst>
          </p:cNvPr>
          <p:cNvSpPr>
            <a:spLocks noGrp="1"/>
          </p:cNvSpPr>
          <p:nvPr>
            <p:ph type="title"/>
          </p:nvPr>
        </p:nvSpPr>
        <p:spPr>
          <a:xfrm>
            <a:off x="442913" y="441326"/>
            <a:ext cx="5653087" cy="935038"/>
          </a:xfrm>
        </p:spPr>
        <p:txBody>
          <a:bodyPr/>
          <a:lstStyle/>
          <a:p>
            <a:r>
              <a:rPr lang="en-US"/>
              <a:t>Click to edit Master title style</a:t>
            </a:r>
            <a:endParaRPr lang="en-GB"/>
          </a:p>
        </p:txBody>
      </p:sp>
      <p:sp>
        <p:nvSpPr>
          <p:cNvPr id="8" name="Content Placeholder 7">
            <a:extLst>
              <a:ext uri="{FF2B5EF4-FFF2-40B4-BE49-F238E27FC236}">
                <a16:creationId xmlns:a16="http://schemas.microsoft.com/office/drawing/2014/main" id="{670AE94C-C552-4D8A-93EF-1722473282D0}"/>
              </a:ext>
            </a:extLst>
          </p:cNvPr>
          <p:cNvSpPr>
            <a:spLocks noGrp="1"/>
          </p:cNvSpPr>
          <p:nvPr>
            <p:ph sz="quarter" idx="20"/>
          </p:nvPr>
        </p:nvSpPr>
        <p:spPr>
          <a:xfrm>
            <a:off x="442911" y="1376364"/>
            <a:ext cx="4861001" cy="478948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016757789"/>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Quote + image">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083AA513-3096-463D-86CC-9463654915BB}"/>
              </a:ext>
            </a:extLst>
          </p:cNvPr>
          <p:cNvSpPr>
            <a:spLocks noGrp="1"/>
          </p:cNvSpPr>
          <p:nvPr>
            <p:ph type="sldNum" sz="quarter" idx="14"/>
          </p:nvPr>
        </p:nvSpPr>
        <p:spPr>
          <a:xfrm>
            <a:off x="11278800" y="6400800"/>
            <a:ext cx="442800" cy="226800"/>
          </a:xfrm>
          <a:prstGeom prst="rect">
            <a:avLst/>
          </a:prstGeom>
        </p:spPr>
        <p:txBody>
          <a:bodyPr/>
          <a:lstStyle/>
          <a:p>
            <a:pPr algn="r">
              <a:lnSpc>
                <a:spcPts val="970"/>
              </a:lnSpc>
            </a:pPr>
            <a:fld id="{0B868178-02AE-42FC-958D-6B8F13B60175}" type="slidenum">
              <a:rPr lang="en-GB" smtClean="0"/>
              <a:pPr algn="r">
                <a:lnSpc>
                  <a:spcPts val="970"/>
                </a:lnSpc>
              </a:pPr>
              <a:t>‹#›</a:t>
            </a:fld>
            <a:endParaRPr lang="en-GB" sz="800" noProof="0">
              <a:solidFill>
                <a:schemeClr val="bg1"/>
              </a:solidFill>
            </a:endParaRPr>
          </a:p>
        </p:txBody>
      </p:sp>
      <p:sp>
        <p:nvSpPr>
          <p:cNvPr id="3" name="Title 2">
            <a:extLst>
              <a:ext uri="{FF2B5EF4-FFF2-40B4-BE49-F238E27FC236}">
                <a16:creationId xmlns:a16="http://schemas.microsoft.com/office/drawing/2014/main" id="{E980F9A7-5884-45A2-8D6E-4AD7C3B3CB52}"/>
              </a:ext>
            </a:extLst>
          </p:cNvPr>
          <p:cNvSpPr>
            <a:spLocks noGrp="1"/>
          </p:cNvSpPr>
          <p:nvPr>
            <p:ph type="title"/>
          </p:nvPr>
        </p:nvSpPr>
        <p:spPr>
          <a:xfrm>
            <a:off x="442913" y="441326"/>
            <a:ext cx="5653087" cy="935038"/>
          </a:xfrm>
        </p:spPr>
        <p:txBody>
          <a:bodyPr/>
          <a:lstStyle/>
          <a:p>
            <a:r>
              <a:rPr lang="en-US"/>
              <a:t>Click to edit Master title style</a:t>
            </a:r>
            <a:endParaRPr lang="en-GB"/>
          </a:p>
        </p:txBody>
      </p:sp>
      <p:sp>
        <p:nvSpPr>
          <p:cNvPr id="8" name="Content Placeholder 7">
            <a:extLst>
              <a:ext uri="{FF2B5EF4-FFF2-40B4-BE49-F238E27FC236}">
                <a16:creationId xmlns:a16="http://schemas.microsoft.com/office/drawing/2014/main" id="{670AE94C-C552-4D8A-93EF-1722473282D0}"/>
              </a:ext>
            </a:extLst>
          </p:cNvPr>
          <p:cNvSpPr>
            <a:spLocks noGrp="1"/>
          </p:cNvSpPr>
          <p:nvPr>
            <p:ph sz="quarter" idx="20"/>
          </p:nvPr>
        </p:nvSpPr>
        <p:spPr>
          <a:xfrm>
            <a:off x="442911" y="1376364"/>
            <a:ext cx="4861001" cy="478948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13" name="Picture 12">
            <a:extLst>
              <a:ext uri="{FF2B5EF4-FFF2-40B4-BE49-F238E27FC236}">
                <a16:creationId xmlns:a16="http://schemas.microsoft.com/office/drawing/2014/main" id="{157CABCD-09F2-E141-9D5B-869ECB1A6815}"/>
              </a:ext>
            </a:extLst>
          </p:cNvPr>
          <p:cNvPicPr>
            <a:picLocks noChangeAspect="1"/>
          </p:cNvPicPr>
          <p:nvPr userDrawn="1"/>
        </p:nvPicPr>
        <p:blipFill>
          <a:blip r:embed="rId2"/>
          <a:stretch>
            <a:fillRect/>
          </a:stretch>
        </p:blipFill>
        <p:spPr>
          <a:xfrm>
            <a:off x="5313350" y="0"/>
            <a:ext cx="6908706" cy="6858000"/>
          </a:xfrm>
          <a:prstGeom prst="rect">
            <a:avLst/>
          </a:prstGeom>
        </p:spPr>
      </p:pic>
      <p:grpSp>
        <p:nvGrpSpPr>
          <p:cNvPr id="14" name="Group 13">
            <a:extLst>
              <a:ext uri="{FF2B5EF4-FFF2-40B4-BE49-F238E27FC236}">
                <a16:creationId xmlns:a16="http://schemas.microsoft.com/office/drawing/2014/main" id="{6B4D1ED3-09B7-8E43-B9E0-217ECB8BF26A}"/>
              </a:ext>
            </a:extLst>
          </p:cNvPr>
          <p:cNvGrpSpPr/>
          <p:nvPr userDrawn="1"/>
        </p:nvGrpSpPr>
        <p:grpSpPr>
          <a:xfrm>
            <a:off x="5281643" y="0"/>
            <a:ext cx="6940409" cy="6857999"/>
            <a:chOff x="5965212" y="5257800"/>
            <a:chExt cx="586401" cy="579438"/>
          </a:xfrm>
        </p:grpSpPr>
        <p:sp>
          <p:nvSpPr>
            <p:cNvPr id="15" name="Freeform 106">
              <a:extLst>
                <a:ext uri="{FF2B5EF4-FFF2-40B4-BE49-F238E27FC236}">
                  <a16:creationId xmlns:a16="http://schemas.microsoft.com/office/drawing/2014/main" id="{EE4CDB85-E992-C34A-A0AD-63D62CE9F435}"/>
                </a:ext>
              </a:extLst>
            </p:cNvPr>
            <p:cNvSpPr>
              <a:spLocks noChangeArrowheads="1"/>
            </p:cNvSpPr>
            <p:nvPr/>
          </p:nvSpPr>
          <p:spPr bwMode="auto">
            <a:xfrm>
              <a:off x="5965212" y="5257800"/>
              <a:ext cx="174625" cy="131763"/>
            </a:xfrm>
            <a:custGeom>
              <a:avLst/>
              <a:gdLst>
                <a:gd name="T0" fmla="*/ 50 w 485"/>
                <a:gd name="T1" fmla="*/ 259 h 368"/>
                <a:gd name="T2" fmla="*/ 237 w 485"/>
                <a:gd name="T3" fmla="*/ 367 h 368"/>
                <a:gd name="T4" fmla="*/ 345 w 485"/>
                <a:gd name="T5" fmla="*/ 338 h 368"/>
                <a:gd name="T6" fmla="*/ 424 w 485"/>
                <a:gd name="T7" fmla="*/ 43 h 368"/>
                <a:gd name="T8" fmla="*/ 391 w 485"/>
                <a:gd name="T9" fmla="*/ 0 h 368"/>
                <a:gd name="T10" fmla="*/ 83 w 485"/>
                <a:gd name="T11" fmla="*/ 0 h 368"/>
                <a:gd name="T12" fmla="*/ 50 w 485"/>
                <a:gd name="T13" fmla="*/ 259 h 368"/>
                <a:gd name="T14" fmla="*/ 92 w 485"/>
                <a:gd name="T15" fmla="*/ 112 h 368"/>
                <a:gd name="T16" fmla="*/ 162 w 485"/>
                <a:gd name="T17" fmla="*/ 21 h 368"/>
                <a:gd name="T18" fmla="*/ 237 w 485"/>
                <a:gd name="T19" fmla="*/ 1 h 368"/>
                <a:gd name="T20" fmla="*/ 237 w 485"/>
                <a:gd name="T21" fmla="*/ 1 h 368"/>
                <a:gd name="T22" fmla="*/ 368 w 485"/>
                <a:gd name="T23" fmla="*/ 76 h 368"/>
                <a:gd name="T24" fmla="*/ 312 w 485"/>
                <a:gd name="T25" fmla="*/ 282 h 368"/>
                <a:gd name="T26" fmla="*/ 237 w 485"/>
                <a:gd name="T27" fmla="*/ 302 h 368"/>
                <a:gd name="T28" fmla="*/ 107 w 485"/>
                <a:gd name="T29" fmla="*/ 227 h 368"/>
                <a:gd name="T30" fmla="*/ 92 w 485"/>
                <a:gd name="T31" fmla="*/ 112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85" h="368">
                  <a:moveTo>
                    <a:pt x="50" y="259"/>
                  </a:moveTo>
                  <a:cubicBezTo>
                    <a:pt x="90" y="329"/>
                    <a:pt x="163" y="367"/>
                    <a:pt x="237" y="367"/>
                  </a:cubicBezTo>
                  <a:cubicBezTo>
                    <a:pt x="274" y="367"/>
                    <a:pt x="311" y="358"/>
                    <a:pt x="345" y="338"/>
                  </a:cubicBezTo>
                  <a:cubicBezTo>
                    <a:pt x="448" y="279"/>
                    <a:pt x="484" y="147"/>
                    <a:pt x="424" y="43"/>
                  </a:cubicBezTo>
                  <a:cubicBezTo>
                    <a:pt x="415" y="27"/>
                    <a:pt x="404" y="13"/>
                    <a:pt x="391" y="0"/>
                  </a:cubicBezTo>
                  <a:lnTo>
                    <a:pt x="83" y="0"/>
                  </a:lnTo>
                  <a:cubicBezTo>
                    <a:pt x="17" y="67"/>
                    <a:pt x="0" y="173"/>
                    <a:pt x="50" y="259"/>
                  </a:cubicBezTo>
                  <a:close/>
                  <a:moveTo>
                    <a:pt x="92" y="112"/>
                  </a:moveTo>
                  <a:cubicBezTo>
                    <a:pt x="102" y="74"/>
                    <a:pt x="127" y="41"/>
                    <a:pt x="162" y="21"/>
                  </a:cubicBezTo>
                  <a:cubicBezTo>
                    <a:pt x="185" y="8"/>
                    <a:pt x="211" y="1"/>
                    <a:pt x="237" y="1"/>
                  </a:cubicBezTo>
                  <a:lnTo>
                    <a:pt x="237" y="1"/>
                  </a:lnTo>
                  <a:cubicBezTo>
                    <a:pt x="291" y="1"/>
                    <a:pt x="341" y="30"/>
                    <a:pt x="368" y="76"/>
                  </a:cubicBezTo>
                  <a:cubicBezTo>
                    <a:pt x="409" y="148"/>
                    <a:pt x="384" y="240"/>
                    <a:pt x="312" y="282"/>
                  </a:cubicBezTo>
                  <a:cubicBezTo>
                    <a:pt x="290" y="295"/>
                    <a:pt x="264" y="302"/>
                    <a:pt x="237" y="302"/>
                  </a:cubicBezTo>
                  <a:cubicBezTo>
                    <a:pt x="184" y="302"/>
                    <a:pt x="134" y="273"/>
                    <a:pt x="107" y="227"/>
                  </a:cubicBezTo>
                  <a:cubicBezTo>
                    <a:pt x="87" y="192"/>
                    <a:pt x="81" y="151"/>
                    <a:pt x="92" y="112"/>
                  </a:cubicBezTo>
                  <a:close/>
                </a:path>
              </a:pathLst>
            </a:custGeom>
            <a:solidFill>
              <a:schemeClr val="accent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6" name="Freeform 107">
              <a:extLst>
                <a:ext uri="{FF2B5EF4-FFF2-40B4-BE49-F238E27FC236}">
                  <a16:creationId xmlns:a16="http://schemas.microsoft.com/office/drawing/2014/main" id="{96DAB01D-C4E4-6341-BB02-C4AEA1870DAD}"/>
                </a:ext>
              </a:extLst>
            </p:cNvPr>
            <p:cNvSpPr>
              <a:spLocks noChangeArrowheads="1"/>
            </p:cNvSpPr>
            <p:nvPr/>
          </p:nvSpPr>
          <p:spPr bwMode="auto">
            <a:xfrm>
              <a:off x="6022975" y="5699125"/>
              <a:ext cx="323850" cy="138113"/>
            </a:xfrm>
            <a:custGeom>
              <a:avLst/>
              <a:gdLst>
                <a:gd name="T0" fmla="*/ 852 w 898"/>
                <a:gd name="T1" fmla="*/ 139 h 382"/>
                <a:gd name="T2" fmla="*/ 557 w 898"/>
                <a:gd name="T3" fmla="*/ 60 h 382"/>
                <a:gd name="T4" fmla="*/ 0 w 898"/>
                <a:gd name="T5" fmla="*/ 381 h 382"/>
                <a:gd name="T6" fmla="*/ 834 w 898"/>
                <a:gd name="T7" fmla="*/ 381 h 382"/>
                <a:gd name="T8" fmla="*/ 852 w 898"/>
                <a:gd name="T9" fmla="*/ 139 h 382"/>
              </a:gdLst>
              <a:ahLst/>
              <a:cxnLst>
                <a:cxn ang="0">
                  <a:pos x="T0" y="T1"/>
                </a:cxn>
                <a:cxn ang="0">
                  <a:pos x="T2" y="T3"/>
                </a:cxn>
                <a:cxn ang="0">
                  <a:pos x="T4" y="T5"/>
                </a:cxn>
                <a:cxn ang="0">
                  <a:pos x="T6" y="T7"/>
                </a:cxn>
                <a:cxn ang="0">
                  <a:pos x="T8" y="T9"/>
                </a:cxn>
              </a:cxnLst>
              <a:rect l="0" t="0" r="r" b="b"/>
              <a:pathLst>
                <a:path w="898" h="382">
                  <a:moveTo>
                    <a:pt x="852" y="139"/>
                  </a:moveTo>
                  <a:cubicBezTo>
                    <a:pt x="792" y="35"/>
                    <a:pt x="660" y="0"/>
                    <a:pt x="557" y="60"/>
                  </a:cubicBezTo>
                  <a:lnTo>
                    <a:pt x="0" y="381"/>
                  </a:lnTo>
                  <a:lnTo>
                    <a:pt x="834" y="381"/>
                  </a:lnTo>
                  <a:cubicBezTo>
                    <a:pt x="887" y="314"/>
                    <a:pt x="897" y="218"/>
                    <a:pt x="852" y="139"/>
                  </a:cubicBezTo>
                </a:path>
              </a:pathLst>
            </a:custGeom>
            <a:solidFill>
              <a:schemeClr val="accent5">
                <a:alpha val="4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7" name="Freeform 108">
              <a:extLst>
                <a:ext uri="{FF2B5EF4-FFF2-40B4-BE49-F238E27FC236}">
                  <a16:creationId xmlns:a16="http://schemas.microsoft.com/office/drawing/2014/main" id="{2FADF8AF-987E-9449-9532-3604C99C8CF0}"/>
                </a:ext>
              </a:extLst>
            </p:cNvPr>
            <p:cNvSpPr>
              <a:spLocks noChangeArrowheads="1"/>
            </p:cNvSpPr>
            <p:nvPr/>
          </p:nvSpPr>
          <p:spPr bwMode="auto">
            <a:xfrm>
              <a:off x="6457950" y="5545138"/>
              <a:ext cx="93663" cy="157162"/>
            </a:xfrm>
            <a:custGeom>
              <a:avLst/>
              <a:gdLst>
                <a:gd name="T0" fmla="*/ 139 w 258"/>
                <a:gd name="T1" fmla="*/ 31 h 438"/>
                <a:gd name="T2" fmla="*/ 60 w 258"/>
                <a:gd name="T3" fmla="*/ 326 h 438"/>
                <a:gd name="T4" fmla="*/ 257 w 258"/>
                <a:gd name="T5" fmla="*/ 433 h 438"/>
                <a:gd name="T6" fmla="*/ 257 w 258"/>
                <a:gd name="T7" fmla="*/ 2 h 438"/>
                <a:gd name="T8" fmla="*/ 139 w 258"/>
                <a:gd name="T9" fmla="*/ 31 h 438"/>
              </a:gdLst>
              <a:ahLst/>
              <a:cxnLst>
                <a:cxn ang="0">
                  <a:pos x="T0" y="T1"/>
                </a:cxn>
                <a:cxn ang="0">
                  <a:pos x="T2" y="T3"/>
                </a:cxn>
                <a:cxn ang="0">
                  <a:pos x="T4" y="T5"/>
                </a:cxn>
                <a:cxn ang="0">
                  <a:pos x="T6" y="T7"/>
                </a:cxn>
                <a:cxn ang="0">
                  <a:pos x="T8" y="T9"/>
                </a:cxn>
              </a:cxnLst>
              <a:rect l="0" t="0" r="r" b="b"/>
              <a:pathLst>
                <a:path w="258" h="438">
                  <a:moveTo>
                    <a:pt x="139" y="31"/>
                  </a:moveTo>
                  <a:cubicBezTo>
                    <a:pt x="36" y="90"/>
                    <a:pt x="0" y="222"/>
                    <a:pt x="60" y="326"/>
                  </a:cubicBezTo>
                  <a:cubicBezTo>
                    <a:pt x="102" y="398"/>
                    <a:pt x="179" y="437"/>
                    <a:pt x="257" y="433"/>
                  </a:cubicBezTo>
                  <a:lnTo>
                    <a:pt x="257" y="2"/>
                  </a:lnTo>
                  <a:cubicBezTo>
                    <a:pt x="217" y="0"/>
                    <a:pt x="176" y="9"/>
                    <a:pt x="139" y="31"/>
                  </a:cubicBezTo>
                </a:path>
              </a:pathLst>
            </a:custGeom>
            <a:solidFill>
              <a:schemeClr val="accent5">
                <a:alpha val="4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a:p>
          </p:txBody>
        </p:sp>
      </p:grpSp>
      <p:sp>
        <p:nvSpPr>
          <p:cNvPr id="20" name="Rechthoek 2">
            <a:extLst>
              <a:ext uri="{FF2B5EF4-FFF2-40B4-BE49-F238E27FC236}">
                <a16:creationId xmlns:a16="http://schemas.microsoft.com/office/drawing/2014/main" id="{7F7A450F-3843-B140-9D3D-F1CEB74B4134}"/>
              </a:ext>
            </a:extLst>
          </p:cNvPr>
          <p:cNvSpPr/>
          <p:nvPr userDrawn="1"/>
        </p:nvSpPr>
        <p:spPr>
          <a:xfrm>
            <a:off x="10002839" y="143250"/>
            <a:ext cx="1633781"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accent4"/>
                </a:solidFill>
                <a:effectLst/>
                <a:uLnTx/>
                <a:uFillTx/>
                <a:latin typeface="+mn-lt"/>
                <a:ea typeface="+mn-ea"/>
                <a:cs typeface="+mn-cs"/>
              </a:rPr>
              <a:t>Colt confidential</a:t>
            </a:r>
          </a:p>
        </p:txBody>
      </p:sp>
    </p:spTree>
    <p:extLst>
      <p:ext uri="{BB962C8B-B14F-4D97-AF65-F5344CB8AC3E}">
        <p14:creationId xmlns:p14="http://schemas.microsoft.com/office/powerpoint/2010/main" val="4012601382"/>
      </p:ext>
    </p:extLst>
  </p:cSld>
  <p:clrMapOvr>
    <a:masterClrMapping/>
  </p:clrMapOvr>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ext &amp; stats v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GB" noProof="0"/>
          </a:p>
        </p:txBody>
      </p:sp>
      <p:sp>
        <p:nvSpPr>
          <p:cNvPr id="7" name="Slide Number Placeholder 6"/>
          <p:cNvSpPr>
            <a:spLocks noGrp="1"/>
          </p:cNvSpPr>
          <p:nvPr>
            <p:ph type="sldNum" sz="quarter" idx="12"/>
          </p:nvPr>
        </p:nvSpPr>
        <p:spPr>
          <a:xfrm>
            <a:off x="11278800" y="6400800"/>
            <a:ext cx="442800" cy="226800"/>
          </a:xfrm>
          <a:prstGeom prst="rect">
            <a:avLst/>
          </a:prstGeom>
        </p:spPr>
        <p:txBody>
          <a:bodyPr/>
          <a:lstStyle>
            <a:lvl1pPr algn="r">
              <a:defRPr/>
            </a:lvl1pPr>
          </a:lstStyle>
          <a:p>
            <a:pPr algn="r"/>
            <a:fld id="{0B868178-02AE-42FC-958D-6B8F13B60175}" type="slidenum">
              <a:rPr lang="en-GB" smtClean="0"/>
              <a:pPr/>
              <a:t>‹#›</a:t>
            </a:fld>
            <a:endParaRPr lang="en-GB"/>
          </a:p>
        </p:txBody>
      </p:sp>
      <p:sp>
        <p:nvSpPr>
          <p:cNvPr id="10" name="Content Placeholder 9">
            <a:extLst>
              <a:ext uri="{FF2B5EF4-FFF2-40B4-BE49-F238E27FC236}">
                <a16:creationId xmlns:a16="http://schemas.microsoft.com/office/drawing/2014/main" id="{4C8574F6-DC41-4E64-8E1A-15B6A848557A}"/>
              </a:ext>
            </a:extLst>
          </p:cNvPr>
          <p:cNvSpPr>
            <a:spLocks noGrp="1"/>
          </p:cNvSpPr>
          <p:nvPr>
            <p:ph sz="quarter" idx="13"/>
          </p:nvPr>
        </p:nvSpPr>
        <p:spPr>
          <a:xfrm>
            <a:off x="468000" y="1354138"/>
            <a:ext cx="3754800" cy="48212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Content Placeholder 11">
            <a:extLst>
              <a:ext uri="{FF2B5EF4-FFF2-40B4-BE49-F238E27FC236}">
                <a16:creationId xmlns:a16="http://schemas.microsoft.com/office/drawing/2014/main" id="{B9A15E7A-9B88-4C4F-AE30-95F67A884612}"/>
              </a:ext>
            </a:extLst>
          </p:cNvPr>
          <p:cNvSpPr>
            <a:spLocks noGrp="1"/>
          </p:cNvSpPr>
          <p:nvPr>
            <p:ph sz="quarter" idx="14"/>
          </p:nvPr>
        </p:nvSpPr>
        <p:spPr>
          <a:xfrm>
            <a:off x="4687200" y="1354138"/>
            <a:ext cx="3754800" cy="48212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Content Placeholder 13">
            <a:extLst>
              <a:ext uri="{FF2B5EF4-FFF2-40B4-BE49-F238E27FC236}">
                <a16:creationId xmlns:a16="http://schemas.microsoft.com/office/drawing/2014/main" id="{A2D69BA6-1D74-4DBF-BB10-49BCF51B0B20}"/>
              </a:ext>
            </a:extLst>
          </p:cNvPr>
          <p:cNvSpPr>
            <a:spLocks noGrp="1"/>
          </p:cNvSpPr>
          <p:nvPr>
            <p:ph sz="quarter" idx="15"/>
          </p:nvPr>
        </p:nvSpPr>
        <p:spPr>
          <a:xfrm>
            <a:off x="9378000" y="1354138"/>
            <a:ext cx="1861200" cy="48212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94487964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13F3B690-CE24-4E66-9D2D-84973CAEC15A}"/>
              </a:ext>
            </a:extLst>
          </p:cNvPr>
          <p:cNvSpPr>
            <a:spLocks noGrp="1"/>
          </p:cNvSpPr>
          <p:nvPr>
            <p:ph type="ftr" sz="quarter" idx="11"/>
          </p:nvPr>
        </p:nvSpPr>
        <p:spPr>
          <a:xfrm>
            <a:off x="471600" y="6400800"/>
            <a:ext cx="5400000" cy="226800"/>
          </a:xfrm>
          <a:prstGeom prst="rect">
            <a:avLst/>
          </a:prstGeom>
        </p:spPr>
        <p:txBody>
          <a:bodyPr vert="horz" lIns="0" tIns="0" rIns="0" bIns="0" rtlCol="0" anchor="t" anchorCtr="0">
            <a:noAutofit/>
          </a:bodyPr>
          <a:lstStyle>
            <a:defPPr>
              <a:defRPr lang="en-US"/>
            </a:defPPr>
            <a:lvl1pPr marL="0" algn="l" defTabSz="914400" rtl="0" eaLnBrk="1" latinLnBrk="0" hangingPunct="1">
              <a:defRPr lang="en-GB" sz="800" kern="1200" noProof="0">
                <a:solidFill>
                  <a:schemeClr val="accent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ts val="970"/>
              </a:lnSpc>
            </a:pPr>
            <a:r>
              <a:rPr lang="en-GB"/>
              <a:t>© Colt Technology Services  |  Presentation title here</a:t>
            </a:r>
            <a:endParaRPr lang="en-GB" dirty="0">
              <a:solidFill>
                <a:schemeClr val="accent2"/>
              </a:solidFill>
            </a:endParaRPr>
          </a:p>
        </p:txBody>
      </p:sp>
      <p:sp>
        <p:nvSpPr>
          <p:cNvPr id="5" name="Slide Number Placeholder 4">
            <a:extLst>
              <a:ext uri="{FF2B5EF4-FFF2-40B4-BE49-F238E27FC236}">
                <a16:creationId xmlns:a16="http://schemas.microsoft.com/office/drawing/2014/main" id="{3B228E37-D3E2-49C4-BE7D-4067EBD120F3}"/>
              </a:ext>
            </a:extLst>
          </p:cNvPr>
          <p:cNvSpPr>
            <a:spLocks noGrp="1"/>
          </p:cNvSpPr>
          <p:nvPr>
            <p:ph type="sldNum" sz="quarter" idx="12"/>
          </p:nvPr>
        </p:nvSpPr>
        <p:spPr>
          <a:xfrm>
            <a:off x="11278800" y="6400800"/>
            <a:ext cx="442800" cy="226800"/>
          </a:xfrm>
          <a:prstGeom prst="rect">
            <a:avLst/>
          </a:prstGeom>
        </p:spPr>
        <p:txBody>
          <a:bodyPr/>
          <a:lstStyle/>
          <a:p>
            <a:pPr algn="r">
              <a:lnSpc>
                <a:spcPts val="970"/>
              </a:lnSpc>
            </a:pPr>
            <a:fld id="{0B868178-02AE-42FC-958D-6B8F13B60175}" type="slidenum">
              <a:rPr lang="en-GB" smtClean="0"/>
              <a:pPr algn="r">
                <a:lnSpc>
                  <a:spcPts val="970"/>
                </a:lnSpc>
              </a:pPr>
              <a:t>‹#›</a:t>
            </a:fld>
            <a:endParaRPr lang="en-GB" sz="800" noProof="0">
              <a:solidFill>
                <a:schemeClr val="bg1"/>
              </a:solidFill>
            </a:endParaRPr>
          </a:p>
        </p:txBody>
      </p:sp>
      <p:pic>
        <p:nvPicPr>
          <p:cNvPr id="7" name="Graphic 6">
            <a:extLst>
              <a:ext uri="{FF2B5EF4-FFF2-40B4-BE49-F238E27FC236}">
                <a16:creationId xmlns:a16="http://schemas.microsoft.com/office/drawing/2014/main" id="{2404A514-DC81-4DC1-99F2-15989271CA5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68000" y="3240000"/>
            <a:ext cx="11239500" cy="457200"/>
          </a:xfrm>
          <a:prstGeom prst="rect">
            <a:avLst/>
          </a:prstGeom>
        </p:spPr>
      </p:pic>
      <p:sp>
        <p:nvSpPr>
          <p:cNvPr id="11" name="Media Placeholder 10">
            <a:extLst>
              <a:ext uri="{FF2B5EF4-FFF2-40B4-BE49-F238E27FC236}">
                <a16:creationId xmlns:a16="http://schemas.microsoft.com/office/drawing/2014/main" id="{0558167F-F2A6-43D9-8382-C17BCA5734D4}"/>
              </a:ext>
            </a:extLst>
          </p:cNvPr>
          <p:cNvSpPr>
            <a:spLocks noGrp="1"/>
          </p:cNvSpPr>
          <p:nvPr>
            <p:ph type="media" sz="quarter" idx="13" hasCustomPrompt="1"/>
          </p:nvPr>
        </p:nvSpPr>
        <p:spPr>
          <a:xfrm>
            <a:off x="2160000" y="1404000"/>
            <a:ext cx="7200" cy="1836000"/>
          </a:xfrm>
          <a:solidFill>
            <a:schemeClr val="tx2"/>
          </a:solidFill>
        </p:spPr>
        <p:txBody>
          <a:bodyPr/>
          <a:lstStyle>
            <a:lvl1pPr>
              <a:defRPr sz="100">
                <a:solidFill>
                  <a:schemeClr val="tx2"/>
                </a:solidFill>
              </a:defRPr>
            </a:lvl1pPr>
          </a:lstStyle>
          <a:p>
            <a:r>
              <a:rPr lang="en-GB" dirty="0"/>
              <a:t> </a:t>
            </a:r>
          </a:p>
        </p:txBody>
      </p:sp>
      <p:sp>
        <p:nvSpPr>
          <p:cNvPr id="12" name="Media Placeholder 10">
            <a:extLst>
              <a:ext uri="{FF2B5EF4-FFF2-40B4-BE49-F238E27FC236}">
                <a16:creationId xmlns:a16="http://schemas.microsoft.com/office/drawing/2014/main" id="{8DFD0D35-F6E6-451D-977E-02EA680267DC}"/>
              </a:ext>
            </a:extLst>
          </p:cNvPr>
          <p:cNvSpPr>
            <a:spLocks noGrp="1"/>
          </p:cNvSpPr>
          <p:nvPr>
            <p:ph type="media" sz="quarter" idx="14" hasCustomPrompt="1"/>
          </p:nvPr>
        </p:nvSpPr>
        <p:spPr>
          <a:xfrm>
            <a:off x="4500000" y="1404000"/>
            <a:ext cx="7200" cy="1836000"/>
          </a:xfrm>
          <a:solidFill>
            <a:schemeClr val="tx2"/>
          </a:solidFill>
        </p:spPr>
        <p:txBody>
          <a:bodyPr/>
          <a:lstStyle>
            <a:lvl1pPr>
              <a:defRPr sz="100">
                <a:solidFill>
                  <a:schemeClr val="tx2"/>
                </a:solidFill>
              </a:defRPr>
            </a:lvl1pPr>
          </a:lstStyle>
          <a:p>
            <a:r>
              <a:rPr lang="en-GB" dirty="0"/>
              <a:t> </a:t>
            </a:r>
          </a:p>
        </p:txBody>
      </p:sp>
      <p:sp>
        <p:nvSpPr>
          <p:cNvPr id="13" name="Media Placeholder 10">
            <a:extLst>
              <a:ext uri="{FF2B5EF4-FFF2-40B4-BE49-F238E27FC236}">
                <a16:creationId xmlns:a16="http://schemas.microsoft.com/office/drawing/2014/main" id="{38DBCF0C-1CF1-49E4-B7C6-F6A7959AFA1C}"/>
              </a:ext>
            </a:extLst>
          </p:cNvPr>
          <p:cNvSpPr>
            <a:spLocks noGrp="1"/>
          </p:cNvSpPr>
          <p:nvPr>
            <p:ph type="media" sz="quarter" idx="15" hasCustomPrompt="1"/>
          </p:nvPr>
        </p:nvSpPr>
        <p:spPr>
          <a:xfrm>
            <a:off x="6840000" y="1404000"/>
            <a:ext cx="7200" cy="1836000"/>
          </a:xfrm>
          <a:solidFill>
            <a:schemeClr val="tx2"/>
          </a:solidFill>
        </p:spPr>
        <p:txBody>
          <a:bodyPr/>
          <a:lstStyle>
            <a:lvl1pPr>
              <a:defRPr sz="100">
                <a:solidFill>
                  <a:schemeClr val="tx2"/>
                </a:solidFill>
              </a:defRPr>
            </a:lvl1pPr>
          </a:lstStyle>
          <a:p>
            <a:r>
              <a:rPr lang="en-GB" dirty="0"/>
              <a:t> </a:t>
            </a:r>
          </a:p>
        </p:txBody>
      </p:sp>
      <p:sp>
        <p:nvSpPr>
          <p:cNvPr id="14" name="Media Placeholder 10">
            <a:extLst>
              <a:ext uri="{FF2B5EF4-FFF2-40B4-BE49-F238E27FC236}">
                <a16:creationId xmlns:a16="http://schemas.microsoft.com/office/drawing/2014/main" id="{F3939553-606E-4A32-9D09-7D96F632A714}"/>
              </a:ext>
            </a:extLst>
          </p:cNvPr>
          <p:cNvSpPr>
            <a:spLocks noGrp="1"/>
          </p:cNvSpPr>
          <p:nvPr>
            <p:ph type="media" sz="quarter" idx="16" hasCustomPrompt="1"/>
          </p:nvPr>
        </p:nvSpPr>
        <p:spPr>
          <a:xfrm>
            <a:off x="9180000" y="1404000"/>
            <a:ext cx="7200" cy="1836000"/>
          </a:xfrm>
          <a:solidFill>
            <a:schemeClr val="tx2"/>
          </a:solidFill>
        </p:spPr>
        <p:txBody>
          <a:bodyPr/>
          <a:lstStyle>
            <a:lvl1pPr>
              <a:defRPr sz="100">
                <a:solidFill>
                  <a:schemeClr val="tx2"/>
                </a:solidFill>
              </a:defRPr>
            </a:lvl1pPr>
          </a:lstStyle>
          <a:p>
            <a:r>
              <a:rPr lang="en-GB" dirty="0"/>
              <a:t> </a:t>
            </a:r>
          </a:p>
        </p:txBody>
      </p:sp>
      <p:sp>
        <p:nvSpPr>
          <p:cNvPr id="15" name="Media Placeholder 10">
            <a:extLst>
              <a:ext uri="{FF2B5EF4-FFF2-40B4-BE49-F238E27FC236}">
                <a16:creationId xmlns:a16="http://schemas.microsoft.com/office/drawing/2014/main" id="{7B1FBA84-04DD-4B5B-851E-AABAACABFC7F}"/>
              </a:ext>
            </a:extLst>
          </p:cNvPr>
          <p:cNvSpPr>
            <a:spLocks noGrp="1"/>
          </p:cNvSpPr>
          <p:nvPr>
            <p:ph type="media" sz="quarter" idx="17" hasCustomPrompt="1"/>
          </p:nvPr>
        </p:nvSpPr>
        <p:spPr>
          <a:xfrm>
            <a:off x="1260000" y="3697200"/>
            <a:ext cx="7200" cy="1836000"/>
          </a:xfrm>
          <a:solidFill>
            <a:schemeClr val="tx2"/>
          </a:solidFill>
        </p:spPr>
        <p:txBody>
          <a:bodyPr/>
          <a:lstStyle>
            <a:lvl1pPr>
              <a:defRPr sz="100">
                <a:solidFill>
                  <a:schemeClr val="tx2"/>
                </a:solidFill>
              </a:defRPr>
            </a:lvl1pPr>
          </a:lstStyle>
          <a:p>
            <a:r>
              <a:rPr lang="en-GB" dirty="0"/>
              <a:t> </a:t>
            </a:r>
          </a:p>
        </p:txBody>
      </p:sp>
      <p:sp>
        <p:nvSpPr>
          <p:cNvPr id="16" name="Media Placeholder 10">
            <a:extLst>
              <a:ext uri="{FF2B5EF4-FFF2-40B4-BE49-F238E27FC236}">
                <a16:creationId xmlns:a16="http://schemas.microsoft.com/office/drawing/2014/main" id="{EF861C7E-F1A1-46F9-B1A4-20CD86575858}"/>
              </a:ext>
            </a:extLst>
          </p:cNvPr>
          <p:cNvSpPr>
            <a:spLocks noGrp="1"/>
          </p:cNvSpPr>
          <p:nvPr>
            <p:ph type="media" sz="quarter" idx="18" hasCustomPrompt="1"/>
          </p:nvPr>
        </p:nvSpPr>
        <p:spPr>
          <a:xfrm>
            <a:off x="3600000" y="3697200"/>
            <a:ext cx="7200" cy="1836000"/>
          </a:xfrm>
          <a:solidFill>
            <a:schemeClr val="tx2"/>
          </a:solidFill>
        </p:spPr>
        <p:txBody>
          <a:bodyPr/>
          <a:lstStyle>
            <a:lvl1pPr>
              <a:defRPr sz="100">
                <a:solidFill>
                  <a:schemeClr val="tx2"/>
                </a:solidFill>
              </a:defRPr>
            </a:lvl1pPr>
          </a:lstStyle>
          <a:p>
            <a:r>
              <a:rPr lang="en-GB" dirty="0"/>
              <a:t> </a:t>
            </a:r>
          </a:p>
        </p:txBody>
      </p:sp>
      <p:sp>
        <p:nvSpPr>
          <p:cNvPr id="17" name="Media Placeholder 10">
            <a:extLst>
              <a:ext uri="{FF2B5EF4-FFF2-40B4-BE49-F238E27FC236}">
                <a16:creationId xmlns:a16="http://schemas.microsoft.com/office/drawing/2014/main" id="{3FA27553-D321-4510-B976-1810C206AA6A}"/>
              </a:ext>
            </a:extLst>
          </p:cNvPr>
          <p:cNvSpPr>
            <a:spLocks noGrp="1"/>
          </p:cNvSpPr>
          <p:nvPr>
            <p:ph type="media" sz="quarter" idx="19" hasCustomPrompt="1"/>
          </p:nvPr>
        </p:nvSpPr>
        <p:spPr>
          <a:xfrm>
            <a:off x="5940000" y="3697200"/>
            <a:ext cx="7200" cy="1836000"/>
          </a:xfrm>
          <a:solidFill>
            <a:schemeClr val="tx2"/>
          </a:solidFill>
        </p:spPr>
        <p:txBody>
          <a:bodyPr/>
          <a:lstStyle>
            <a:lvl1pPr>
              <a:defRPr sz="100">
                <a:solidFill>
                  <a:schemeClr val="tx2"/>
                </a:solidFill>
              </a:defRPr>
            </a:lvl1pPr>
          </a:lstStyle>
          <a:p>
            <a:r>
              <a:rPr lang="en-GB" dirty="0"/>
              <a:t> </a:t>
            </a:r>
          </a:p>
        </p:txBody>
      </p:sp>
      <p:sp>
        <p:nvSpPr>
          <p:cNvPr id="18" name="Media Placeholder 10">
            <a:extLst>
              <a:ext uri="{FF2B5EF4-FFF2-40B4-BE49-F238E27FC236}">
                <a16:creationId xmlns:a16="http://schemas.microsoft.com/office/drawing/2014/main" id="{1E551277-AEE7-4026-9457-AF6AB7A8B843}"/>
              </a:ext>
            </a:extLst>
          </p:cNvPr>
          <p:cNvSpPr>
            <a:spLocks noGrp="1"/>
          </p:cNvSpPr>
          <p:nvPr>
            <p:ph type="media" sz="quarter" idx="20" hasCustomPrompt="1"/>
          </p:nvPr>
        </p:nvSpPr>
        <p:spPr>
          <a:xfrm>
            <a:off x="8280000" y="3697200"/>
            <a:ext cx="7200" cy="1836000"/>
          </a:xfrm>
          <a:solidFill>
            <a:schemeClr val="tx2"/>
          </a:solidFill>
        </p:spPr>
        <p:txBody>
          <a:bodyPr/>
          <a:lstStyle>
            <a:lvl1pPr>
              <a:defRPr sz="100">
                <a:solidFill>
                  <a:schemeClr val="tx2"/>
                </a:solidFill>
              </a:defRPr>
            </a:lvl1pPr>
          </a:lstStyle>
          <a:p>
            <a:r>
              <a:rPr lang="en-GB" dirty="0"/>
              <a:t> </a:t>
            </a:r>
          </a:p>
        </p:txBody>
      </p:sp>
      <p:sp>
        <p:nvSpPr>
          <p:cNvPr id="22" name="Text Placeholder 21">
            <a:extLst>
              <a:ext uri="{FF2B5EF4-FFF2-40B4-BE49-F238E27FC236}">
                <a16:creationId xmlns:a16="http://schemas.microsoft.com/office/drawing/2014/main" id="{3D7E56A9-D978-40C4-917E-FE856DC0AF0E}"/>
              </a:ext>
            </a:extLst>
          </p:cNvPr>
          <p:cNvSpPr>
            <a:spLocks noGrp="1"/>
          </p:cNvSpPr>
          <p:nvPr>
            <p:ph type="body" sz="quarter" idx="22"/>
          </p:nvPr>
        </p:nvSpPr>
        <p:spPr>
          <a:xfrm>
            <a:off x="2376000" y="2160000"/>
            <a:ext cx="1800000" cy="720000"/>
          </a:xfrm>
        </p:spPr>
        <p:txBody>
          <a:bodyPr/>
          <a:lstStyle>
            <a:lvl1pPr>
              <a:lnSpc>
                <a:spcPts val="1230"/>
              </a:lnSpc>
              <a:defRPr sz="1060">
                <a:solidFill>
                  <a:schemeClr val="tx2"/>
                </a:solidFill>
              </a:defRPr>
            </a:lvl1pPr>
            <a:lvl2pPr marL="108000" indent="-108000">
              <a:lnSpc>
                <a:spcPts val="1230"/>
              </a:lnSpc>
              <a:buClr>
                <a:schemeClr val="accent6"/>
              </a:buClr>
              <a:buFont typeface="Arial" panose="020B0604020202020204" pitchFamily="34" charset="0"/>
              <a:buChar char="•"/>
              <a:defRPr sz="1060"/>
            </a:lvl2pPr>
          </a:lstStyle>
          <a:p>
            <a:pPr lvl="0"/>
            <a:r>
              <a:rPr lang="en-US" dirty="0"/>
              <a:t>Click to edit Master text styles</a:t>
            </a:r>
          </a:p>
          <a:p>
            <a:pPr lvl="1"/>
            <a:r>
              <a:rPr lang="en-US" dirty="0"/>
              <a:t>Second level</a:t>
            </a:r>
            <a:endParaRPr lang="en-GB" dirty="0"/>
          </a:p>
        </p:txBody>
      </p:sp>
      <p:sp>
        <p:nvSpPr>
          <p:cNvPr id="23" name="Text Placeholder 21">
            <a:extLst>
              <a:ext uri="{FF2B5EF4-FFF2-40B4-BE49-F238E27FC236}">
                <a16:creationId xmlns:a16="http://schemas.microsoft.com/office/drawing/2014/main" id="{14C4FBED-DAAD-4027-BD3C-4A0157316A59}"/>
              </a:ext>
            </a:extLst>
          </p:cNvPr>
          <p:cNvSpPr>
            <a:spLocks noGrp="1"/>
          </p:cNvSpPr>
          <p:nvPr>
            <p:ph type="body" sz="quarter" idx="23"/>
          </p:nvPr>
        </p:nvSpPr>
        <p:spPr>
          <a:xfrm>
            <a:off x="4716000" y="2160000"/>
            <a:ext cx="1800000" cy="720000"/>
          </a:xfrm>
        </p:spPr>
        <p:txBody>
          <a:bodyPr/>
          <a:lstStyle>
            <a:lvl1pPr>
              <a:lnSpc>
                <a:spcPts val="1230"/>
              </a:lnSpc>
              <a:defRPr sz="1060">
                <a:solidFill>
                  <a:schemeClr val="tx2"/>
                </a:solidFill>
              </a:defRPr>
            </a:lvl1pPr>
            <a:lvl2pPr marL="108000" indent="-108000">
              <a:lnSpc>
                <a:spcPts val="1230"/>
              </a:lnSpc>
              <a:buClr>
                <a:schemeClr val="accent6"/>
              </a:buClr>
              <a:buFont typeface="Arial" panose="020B0604020202020204" pitchFamily="34" charset="0"/>
              <a:buChar char="•"/>
              <a:defRPr sz="1060"/>
            </a:lvl2pPr>
          </a:lstStyle>
          <a:p>
            <a:pPr lvl="0"/>
            <a:r>
              <a:rPr lang="en-US" dirty="0"/>
              <a:t>Click to edit Master text styles</a:t>
            </a:r>
          </a:p>
          <a:p>
            <a:pPr lvl="1"/>
            <a:r>
              <a:rPr lang="en-US" dirty="0"/>
              <a:t>Second level</a:t>
            </a:r>
            <a:endParaRPr lang="en-GB" dirty="0"/>
          </a:p>
        </p:txBody>
      </p:sp>
      <p:sp>
        <p:nvSpPr>
          <p:cNvPr id="24" name="Text Placeholder 21">
            <a:extLst>
              <a:ext uri="{FF2B5EF4-FFF2-40B4-BE49-F238E27FC236}">
                <a16:creationId xmlns:a16="http://schemas.microsoft.com/office/drawing/2014/main" id="{9348C78B-A872-41D3-A328-54904EEB6E0C}"/>
              </a:ext>
            </a:extLst>
          </p:cNvPr>
          <p:cNvSpPr>
            <a:spLocks noGrp="1"/>
          </p:cNvSpPr>
          <p:nvPr>
            <p:ph type="body" sz="quarter" idx="24"/>
          </p:nvPr>
        </p:nvSpPr>
        <p:spPr>
          <a:xfrm>
            <a:off x="7056000" y="2160000"/>
            <a:ext cx="1800000" cy="720000"/>
          </a:xfrm>
        </p:spPr>
        <p:txBody>
          <a:bodyPr/>
          <a:lstStyle>
            <a:lvl1pPr>
              <a:lnSpc>
                <a:spcPts val="1230"/>
              </a:lnSpc>
              <a:defRPr sz="1060">
                <a:solidFill>
                  <a:schemeClr val="tx2"/>
                </a:solidFill>
              </a:defRPr>
            </a:lvl1pPr>
            <a:lvl2pPr marL="108000" indent="-108000">
              <a:lnSpc>
                <a:spcPts val="1230"/>
              </a:lnSpc>
              <a:buClr>
                <a:schemeClr val="accent6"/>
              </a:buClr>
              <a:buFont typeface="Arial" panose="020B0604020202020204" pitchFamily="34" charset="0"/>
              <a:buChar char="•"/>
              <a:defRPr sz="1060"/>
            </a:lvl2pPr>
          </a:lstStyle>
          <a:p>
            <a:pPr lvl="0"/>
            <a:r>
              <a:rPr lang="en-US" dirty="0"/>
              <a:t>Click to edit Master text styles</a:t>
            </a:r>
          </a:p>
          <a:p>
            <a:pPr lvl="1"/>
            <a:r>
              <a:rPr lang="en-US" dirty="0"/>
              <a:t>Second level</a:t>
            </a:r>
            <a:endParaRPr lang="en-GB" dirty="0"/>
          </a:p>
        </p:txBody>
      </p:sp>
      <p:sp>
        <p:nvSpPr>
          <p:cNvPr id="25" name="Text Placeholder 21">
            <a:extLst>
              <a:ext uri="{FF2B5EF4-FFF2-40B4-BE49-F238E27FC236}">
                <a16:creationId xmlns:a16="http://schemas.microsoft.com/office/drawing/2014/main" id="{DDFA9D6F-33E6-47AA-BE2B-1A82C05DA100}"/>
              </a:ext>
            </a:extLst>
          </p:cNvPr>
          <p:cNvSpPr>
            <a:spLocks noGrp="1"/>
          </p:cNvSpPr>
          <p:nvPr>
            <p:ph type="body" sz="quarter" idx="25"/>
          </p:nvPr>
        </p:nvSpPr>
        <p:spPr>
          <a:xfrm>
            <a:off x="9396000" y="2160000"/>
            <a:ext cx="1800000" cy="720000"/>
          </a:xfrm>
        </p:spPr>
        <p:txBody>
          <a:bodyPr/>
          <a:lstStyle>
            <a:lvl1pPr>
              <a:lnSpc>
                <a:spcPts val="1230"/>
              </a:lnSpc>
              <a:defRPr sz="1060">
                <a:solidFill>
                  <a:schemeClr val="tx2"/>
                </a:solidFill>
              </a:defRPr>
            </a:lvl1pPr>
            <a:lvl2pPr marL="108000" indent="-108000">
              <a:lnSpc>
                <a:spcPts val="1230"/>
              </a:lnSpc>
              <a:buClr>
                <a:schemeClr val="accent6"/>
              </a:buClr>
              <a:buFont typeface="Arial" panose="020B0604020202020204" pitchFamily="34" charset="0"/>
              <a:buChar char="•"/>
              <a:defRPr sz="1060"/>
            </a:lvl2pPr>
          </a:lstStyle>
          <a:p>
            <a:pPr lvl="0"/>
            <a:r>
              <a:rPr lang="en-US" dirty="0"/>
              <a:t>Click to edit Master text styles</a:t>
            </a:r>
          </a:p>
          <a:p>
            <a:pPr lvl="1"/>
            <a:r>
              <a:rPr lang="en-US" dirty="0"/>
              <a:t>Second level</a:t>
            </a:r>
            <a:endParaRPr lang="en-GB" dirty="0"/>
          </a:p>
        </p:txBody>
      </p:sp>
      <p:sp>
        <p:nvSpPr>
          <p:cNvPr id="26" name="Text Placeholder 21">
            <a:extLst>
              <a:ext uri="{FF2B5EF4-FFF2-40B4-BE49-F238E27FC236}">
                <a16:creationId xmlns:a16="http://schemas.microsoft.com/office/drawing/2014/main" id="{81C152D9-93F9-48CB-9EF7-12583D1E1467}"/>
              </a:ext>
            </a:extLst>
          </p:cNvPr>
          <p:cNvSpPr>
            <a:spLocks noGrp="1"/>
          </p:cNvSpPr>
          <p:nvPr>
            <p:ph type="body" sz="quarter" idx="26"/>
          </p:nvPr>
        </p:nvSpPr>
        <p:spPr>
          <a:xfrm>
            <a:off x="1476000" y="4824000"/>
            <a:ext cx="1800000" cy="720000"/>
          </a:xfrm>
        </p:spPr>
        <p:txBody>
          <a:bodyPr/>
          <a:lstStyle>
            <a:lvl1pPr>
              <a:lnSpc>
                <a:spcPts val="1230"/>
              </a:lnSpc>
              <a:defRPr sz="1060">
                <a:solidFill>
                  <a:schemeClr val="tx2"/>
                </a:solidFill>
              </a:defRPr>
            </a:lvl1pPr>
            <a:lvl2pPr marL="108000" indent="-108000">
              <a:lnSpc>
                <a:spcPts val="1230"/>
              </a:lnSpc>
              <a:buClr>
                <a:schemeClr val="accent6"/>
              </a:buClr>
              <a:buFont typeface="Arial" panose="020B0604020202020204" pitchFamily="34" charset="0"/>
              <a:buChar char="•"/>
              <a:defRPr sz="1060"/>
            </a:lvl2pPr>
          </a:lstStyle>
          <a:p>
            <a:pPr lvl="0"/>
            <a:r>
              <a:rPr lang="en-US" dirty="0"/>
              <a:t>Click to edit Master text styles</a:t>
            </a:r>
          </a:p>
          <a:p>
            <a:pPr lvl="1"/>
            <a:r>
              <a:rPr lang="en-US" dirty="0"/>
              <a:t>Second level</a:t>
            </a:r>
            <a:endParaRPr lang="en-GB" dirty="0"/>
          </a:p>
        </p:txBody>
      </p:sp>
      <p:sp>
        <p:nvSpPr>
          <p:cNvPr id="27" name="Text Placeholder 21">
            <a:extLst>
              <a:ext uri="{FF2B5EF4-FFF2-40B4-BE49-F238E27FC236}">
                <a16:creationId xmlns:a16="http://schemas.microsoft.com/office/drawing/2014/main" id="{3E85C4AE-7B9F-464F-91D4-15F242F165BA}"/>
              </a:ext>
            </a:extLst>
          </p:cNvPr>
          <p:cNvSpPr>
            <a:spLocks noGrp="1"/>
          </p:cNvSpPr>
          <p:nvPr>
            <p:ph type="body" sz="quarter" idx="27"/>
          </p:nvPr>
        </p:nvSpPr>
        <p:spPr>
          <a:xfrm>
            <a:off x="3816000" y="4824000"/>
            <a:ext cx="1800000" cy="720000"/>
          </a:xfrm>
        </p:spPr>
        <p:txBody>
          <a:bodyPr/>
          <a:lstStyle>
            <a:lvl1pPr>
              <a:lnSpc>
                <a:spcPts val="1230"/>
              </a:lnSpc>
              <a:defRPr sz="1060">
                <a:solidFill>
                  <a:schemeClr val="tx2"/>
                </a:solidFill>
              </a:defRPr>
            </a:lvl1pPr>
            <a:lvl2pPr marL="108000" indent="-108000">
              <a:lnSpc>
                <a:spcPts val="1230"/>
              </a:lnSpc>
              <a:buClr>
                <a:schemeClr val="accent6"/>
              </a:buClr>
              <a:buFont typeface="Arial" panose="020B0604020202020204" pitchFamily="34" charset="0"/>
              <a:buChar char="•"/>
              <a:defRPr sz="1060"/>
            </a:lvl2pPr>
          </a:lstStyle>
          <a:p>
            <a:pPr lvl="0"/>
            <a:r>
              <a:rPr lang="en-US" dirty="0"/>
              <a:t>Click to edit Master text styles</a:t>
            </a:r>
          </a:p>
          <a:p>
            <a:pPr lvl="1"/>
            <a:r>
              <a:rPr lang="en-US" dirty="0"/>
              <a:t>Second level</a:t>
            </a:r>
            <a:endParaRPr lang="en-GB" dirty="0"/>
          </a:p>
        </p:txBody>
      </p:sp>
      <p:sp>
        <p:nvSpPr>
          <p:cNvPr id="28" name="Text Placeholder 21">
            <a:extLst>
              <a:ext uri="{FF2B5EF4-FFF2-40B4-BE49-F238E27FC236}">
                <a16:creationId xmlns:a16="http://schemas.microsoft.com/office/drawing/2014/main" id="{3CD2E452-65FD-400D-88BD-E0E5F31C47AD}"/>
              </a:ext>
            </a:extLst>
          </p:cNvPr>
          <p:cNvSpPr>
            <a:spLocks noGrp="1"/>
          </p:cNvSpPr>
          <p:nvPr>
            <p:ph type="body" sz="quarter" idx="28"/>
          </p:nvPr>
        </p:nvSpPr>
        <p:spPr>
          <a:xfrm>
            <a:off x="6156000" y="4824000"/>
            <a:ext cx="1800000" cy="720000"/>
          </a:xfrm>
        </p:spPr>
        <p:txBody>
          <a:bodyPr/>
          <a:lstStyle>
            <a:lvl1pPr>
              <a:lnSpc>
                <a:spcPts val="1230"/>
              </a:lnSpc>
              <a:defRPr sz="1060">
                <a:solidFill>
                  <a:schemeClr val="tx2"/>
                </a:solidFill>
              </a:defRPr>
            </a:lvl1pPr>
            <a:lvl2pPr marL="108000" indent="-108000">
              <a:lnSpc>
                <a:spcPts val="1230"/>
              </a:lnSpc>
              <a:buClr>
                <a:schemeClr val="accent6"/>
              </a:buClr>
              <a:buFont typeface="Arial" panose="020B0604020202020204" pitchFamily="34" charset="0"/>
              <a:buChar char="•"/>
              <a:defRPr sz="1060"/>
            </a:lvl2pPr>
          </a:lstStyle>
          <a:p>
            <a:pPr lvl="0"/>
            <a:r>
              <a:rPr lang="en-US" dirty="0"/>
              <a:t>Click to edit Master text styles</a:t>
            </a:r>
          </a:p>
          <a:p>
            <a:pPr lvl="1"/>
            <a:r>
              <a:rPr lang="en-US" dirty="0"/>
              <a:t>Second level</a:t>
            </a:r>
            <a:endParaRPr lang="en-GB" dirty="0"/>
          </a:p>
        </p:txBody>
      </p:sp>
      <p:sp>
        <p:nvSpPr>
          <p:cNvPr id="29" name="Text Placeholder 21">
            <a:extLst>
              <a:ext uri="{FF2B5EF4-FFF2-40B4-BE49-F238E27FC236}">
                <a16:creationId xmlns:a16="http://schemas.microsoft.com/office/drawing/2014/main" id="{B0096270-5BD8-4EC6-925F-2EAFF51F667E}"/>
              </a:ext>
            </a:extLst>
          </p:cNvPr>
          <p:cNvSpPr>
            <a:spLocks noGrp="1"/>
          </p:cNvSpPr>
          <p:nvPr>
            <p:ph type="body" sz="quarter" idx="29"/>
          </p:nvPr>
        </p:nvSpPr>
        <p:spPr>
          <a:xfrm>
            <a:off x="8496000" y="4824000"/>
            <a:ext cx="1800000" cy="720000"/>
          </a:xfrm>
        </p:spPr>
        <p:txBody>
          <a:bodyPr/>
          <a:lstStyle>
            <a:lvl1pPr>
              <a:lnSpc>
                <a:spcPts val="1230"/>
              </a:lnSpc>
              <a:defRPr sz="1060">
                <a:solidFill>
                  <a:schemeClr val="tx2"/>
                </a:solidFill>
              </a:defRPr>
            </a:lvl1pPr>
            <a:lvl2pPr marL="108000" indent="-108000">
              <a:lnSpc>
                <a:spcPts val="1230"/>
              </a:lnSpc>
              <a:buClr>
                <a:schemeClr val="accent6"/>
              </a:buClr>
              <a:buFont typeface="Arial" panose="020B0604020202020204" pitchFamily="34" charset="0"/>
              <a:buChar char="•"/>
              <a:defRPr sz="1060"/>
            </a:lvl2pPr>
          </a:lstStyle>
          <a:p>
            <a:pPr lvl="0"/>
            <a:r>
              <a:rPr lang="en-US" dirty="0"/>
              <a:t>Click to edit Master text styles</a:t>
            </a:r>
          </a:p>
          <a:p>
            <a:pPr lvl="1"/>
            <a:r>
              <a:rPr lang="en-US" dirty="0"/>
              <a:t>Second level</a:t>
            </a:r>
            <a:endParaRPr lang="en-GB" dirty="0"/>
          </a:p>
        </p:txBody>
      </p:sp>
      <p:sp>
        <p:nvSpPr>
          <p:cNvPr id="32" name="Title 1">
            <a:extLst>
              <a:ext uri="{FF2B5EF4-FFF2-40B4-BE49-F238E27FC236}">
                <a16:creationId xmlns:a16="http://schemas.microsoft.com/office/drawing/2014/main" id="{2853A37E-48F6-604A-B3E9-1CA64CCA7F9B}"/>
              </a:ext>
            </a:extLst>
          </p:cNvPr>
          <p:cNvSpPr>
            <a:spLocks noGrp="1"/>
          </p:cNvSpPr>
          <p:nvPr>
            <p:ph type="title"/>
          </p:nvPr>
        </p:nvSpPr>
        <p:spPr>
          <a:xfrm>
            <a:off x="442913" y="441326"/>
            <a:ext cx="11306175" cy="935038"/>
          </a:xfrm>
        </p:spPr>
        <p:txBody>
          <a:bodyPr/>
          <a:lstStyle/>
          <a:p>
            <a:r>
              <a:rPr lang="en-US" dirty="0"/>
              <a:t>Click to edit Master title style</a:t>
            </a:r>
            <a:endParaRPr lang="en-GB" dirty="0"/>
          </a:p>
        </p:txBody>
      </p:sp>
    </p:spTree>
    <p:extLst>
      <p:ext uri="{BB962C8B-B14F-4D97-AF65-F5344CB8AC3E}">
        <p14:creationId xmlns:p14="http://schemas.microsoft.com/office/powerpoint/2010/main" val="305702789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ext in circl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0569E6-90FA-4CC2-8D14-9F7CF2E0946B}"/>
              </a:ext>
            </a:extLst>
          </p:cNvPr>
          <p:cNvSpPr>
            <a:spLocks noGrp="1"/>
          </p:cNvSpPr>
          <p:nvPr>
            <p:ph type="title"/>
          </p:nvPr>
        </p:nvSpPr>
        <p:spPr/>
        <p:txBody>
          <a:bodyPr/>
          <a:lstStyle/>
          <a:p>
            <a:r>
              <a:rPr lang="en-US" dirty="0"/>
              <a:t>Click to edit Master title style</a:t>
            </a:r>
            <a:endParaRPr lang="en-GB" dirty="0"/>
          </a:p>
        </p:txBody>
      </p:sp>
      <p:sp>
        <p:nvSpPr>
          <p:cNvPr id="4" name="Footer Placeholder 3">
            <a:extLst>
              <a:ext uri="{FF2B5EF4-FFF2-40B4-BE49-F238E27FC236}">
                <a16:creationId xmlns:a16="http://schemas.microsoft.com/office/drawing/2014/main" id="{823A535C-B684-4A5A-A436-989BCF2136EF}"/>
              </a:ext>
            </a:extLst>
          </p:cNvPr>
          <p:cNvSpPr>
            <a:spLocks noGrp="1"/>
          </p:cNvSpPr>
          <p:nvPr>
            <p:ph type="ftr" sz="quarter" idx="11"/>
          </p:nvPr>
        </p:nvSpPr>
        <p:spPr>
          <a:xfrm>
            <a:off x="471600" y="6400800"/>
            <a:ext cx="5400000" cy="226800"/>
          </a:xfrm>
          <a:prstGeom prst="rect">
            <a:avLst/>
          </a:prstGeom>
        </p:spPr>
        <p:txBody>
          <a:bodyPr vert="horz" lIns="0" tIns="0" rIns="0" bIns="0" rtlCol="0" anchor="t" anchorCtr="0">
            <a:noAutofit/>
          </a:bodyPr>
          <a:lstStyle>
            <a:defPPr>
              <a:defRPr lang="en-US"/>
            </a:defPPr>
            <a:lvl1pPr marL="0" algn="l" defTabSz="914400" rtl="0" eaLnBrk="1" latinLnBrk="0" hangingPunct="1">
              <a:defRPr lang="en-GB" sz="800" kern="1200" noProof="0">
                <a:solidFill>
                  <a:schemeClr val="accent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ts val="970"/>
              </a:lnSpc>
            </a:pPr>
            <a:r>
              <a:rPr lang="en-GB"/>
              <a:t>© Colt Technology Services  |  Presentation title here</a:t>
            </a:r>
            <a:endParaRPr lang="en-GB" dirty="0">
              <a:solidFill>
                <a:schemeClr val="accent2"/>
              </a:solidFill>
            </a:endParaRPr>
          </a:p>
        </p:txBody>
      </p:sp>
      <p:sp>
        <p:nvSpPr>
          <p:cNvPr id="5" name="Slide Number Placeholder 4">
            <a:extLst>
              <a:ext uri="{FF2B5EF4-FFF2-40B4-BE49-F238E27FC236}">
                <a16:creationId xmlns:a16="http://schemas.microsoft.com/office/drawing/2014/main" id="{AAF80D53-ACFA-4215-8119-91E082705FEE}"/>
              </a:ext>
            </a:extLst>
          </p:cNvPr>
          <p:cNvSpPr>
            <a:spLocks noGrp="1"/>
          </p:cNvSpPr>
          <p:nvPr>
            <p:ph type="sldNum" sz="quarter" idx="12"/>
          </p:nvPr>
        </p:nvSpPr>
        <p:spPr>
          <a:xfrm>
            <a:off x="11278800" y="6400800"/>
            <a:ext cx="442800" cy="226800"/>
          </a:xfrm>
          <a:prstGeom prst="rect">
            <a:avLst/>
          </a:prstGeom>
        </p:spPr>
        <p:txBody>
          <a:bodyPr/>
          <a:lstStyle/>
          <a:p>
            <a:pPr algn="r">
              <a:lnSpc>
                <a:spcPts val="970"/>
              </a:lnSpc>
            </a:pPr>
            <a:fld id="{0B868178-02AE-42FC-958D-6B8F13B60175}" type="slidenum">
              <a:rPr lang="en-GB" smtClean="0"/>
              <a:pPr algn="r">
                <a:lnSpc>
                  <a:spcPts val="970"/>
                </a:lnSpc>
              </a:pPr>
              <a:t>‹#›</a:t>
            </a:fld>
            <a:endParaRPr lang="en-GB" sz="800" noProof="0">
              <a:solidFill>
                <a:schemeClr val="bg1"/>
              </a:solidFill>
            </a:endParaRPr>
          </a:p>
        </p:txBody>
      </p:sp>
      <p:sp>
        <p:nvSpPr>
          <p:cNvPr id="7" name="Text Placeholder 6">
            <a:extLst>
              <a:ext uri="{FF2B5EF4-FFF2-40B4-BE49-F238E27FC236}">
                <a16:creationId xmlns:a16="http://schemas.microsoft.com/office/drawing/2014/main" id="{2C05F560-0912-4033-93C3-F7C73BE411B9}"/>
              </a:ext>
            </a:extLst>
          </p:cNvPr>
          <p:cNvSpPr>
            <a:spLocks noGrp="1" noChangeAspect="1"/>
          </p:cNvSpPr>
          <p:nvPr>
            <p:ph type="body" sz="quarter" idx="13"/>
          </p:nvPr>
        </p:nvSpPr>
        <p:spPr>
          <a:xfrm>
            <a:off x="1404000" y="1044000"/>
            <a:ext cx="2700000" cy="2700000"/>
          </a:xfrm>
          <a:prstGeom prst="ellipse">
            <a:avLst/>
          </a:prstGeom>
          <a:solidFill>
            <a:schemeClr val="accent1"/>
          </a:solidFill>
        </p:spPr>
        <p:txBody>
          <a:bodyPr bIns="72000" anchor="ctr" anchorCtr="0"/>
          <a:lstStyle>
            <a:lvl1pPr marL="0" indent="0" algn="ctr">
              <a:lnSpc>
                <a:spcPts val="1590"/>
              </a:lnSpc>
              <a:buNone/>
              <a:defRPr sz="1410">
                <a:solidFill>
                  <a:schemeClr val="bg1"/>
                </a:solidFill>
              </a:defRPr>
            </a:lvl1pPr>
          </a:lstStyle>
          <a:p>
            <a:pPr lvl="0"/>
            <a:r>
              <a:rPr lang="en-US" dirty="0"/>
              <a:t>Click to edit Master text styles</a:t>
            </a:r>
            <a:endParaRPr lang="en-GB" dirty="0"/>
          </a:p>
        </p:txBody>
      </p:sp>
      <p:sp>
        <p:nvSpPr>
          <p:cNvPr id="8" name="Text Placeholder 6">
            <a:extLst>
              <a:ext uri="{FF2B5EF4-FFF2-40B4-BE49-F238E27FC236}">
                <a16:creationId xmlns:a16="http://schemas.microsoft.com/office/drawing/2014/main" id="{A5CDB310-1C7B-49D2-A591-201A8C5DAC10}"/>
              </a:ext>
            </a:extLst>
          </p:cNvPr>
          <p:cNvSpPr>
            <a:spLocks noGrp="1" noChangeAspect="1"/>
          </p:cNvSpPr>
          <p:nvPr>
            <p:ph type="body" sz="quarter" idx="14"/>
          </p:nvPr>
        </p:nvSpPr>
        <p:spPr>
          <a:xfrm>
            <a:off x="4746600" y="1044000"/>
            <a:ext cx="2700000" cy="2700000"/>
          </a:xfrm>
          <a:prstGeom prst="ellipse">
            <a:avLst/>
          </a:prstGeom>
          <a:solidFill>
            <a:schemeClr val="accent4"/>
          </a:solidFill>
        </p:spPr>
        <p:txBody>
          <a:bodyPr bIns="72000" anchor="ctr" anchorCtr="0"/>
          <a:lstStyle>
            <a:lvl1pPr marL="0" indent="0" algn="ctr">
              <a:lnSpc>
                <a:spcPts val="1590"/>
              </a:lnSpc>
              <a:buNone/>
              <a:defRPr sz="1410">
                <a:solidFill>
                  <a:schemeClr val="bg1"/>
                </a:solidFill>
              </a:defRPr>
            </a:lvl1pPr>
          </a:lstStyle>
          <a:p>
            <a:pPr lvl="0"/>
            <a:r>
              <a:rPr lang="en-US" dirty="0"/>
              <a:t>Click to edit Master text styles</a:t>
            </a:r>
            <a:endParaRPr lang="en-GB" dirty="0"/>
          </a:p>
        </p:txBody>
      </p:sp>
      <p:sp>
        <p:nvSpPr>
          <p:cNvPr id="9" name="Text Placeholder 6">
            <a:extLst>
              <a:ext uri="{FF2B5EF4-FFF2-40B4-BE49-F238E27FC236}">
                <a16:creationId xmlns:a16="http://schemas.microsoft.com/office/drawing/2014/main" id="{9EA1E10F-8C41-4F78-A800-FA323D20EB75}"/>
              </a:ext>
            </a:extLst>
          </p:cNvPr>
          <p:cNvSpPr>
            <a:spLocks noGrp="1" noChangeAspect="1"/>
          </p:cNvSpPr>
          <p:nvPr>
            <p:ph type="body" sz="quarter" idx="15"/>
          </p:nvPr>
        </p:nvSpPr>
        <p:spPr>
          <a:xfrm>
            <a:off x="8089200" y="1044000"/>
            <a:ext cx="2700000" cy="2700000"/>
          </a:xfrm>
          <a:prstGeom prst="ellipse">
            <a:avLst/>
          </a:prstGeom>
          <a:solidFill>
            <a:schemeClr val="accent5"/>
          </a:solidFill>
        </p:spPr>
        <p:txBody>
          <a:bodyPr bIns="72000" anchor="ctr" anchorCtr="0"/>
          <a:lstStyle>
            <a:lvl1pPr marL="0" indent="0" algn="ctr">
              <a:lnSpc>
                <a:spcPts val="1590"/>
              </a:lnSpc>
              <a:buNone/>
              <a:defRPr sz="1410">
                <a:solidFill>
                  <a:schemeClr val="bg1"/>
                </a:solidFill>
              </a:defRPr>
            </a:lvl1pPr>
          </a:lstStyle>
          <a:p>
            <a:pPr lvl="0"/>
            <a:r>
              <a:rPr lang="en-US" dirty="0"/>
              <a:t>Click to edit Master text styles</a:t>
            </a:r>
            <a:endParaRPr lang="en-GB" dirty="0"/>
          </a:p>
        </p:txBody>
      </p:sp>
      <p:sp>
        <p:nvSpPr>
          <p:cNvPr id="10" name="Text Placeholder 6">
            <a:extLst>
              <a:ext uri="{FF2B5EF4-FFF2-40B4-BE49-F238E27FC236}">
                <a16:creationId xmlns:a16="http://schemas.microsoft.com/office/drawing/2014/main" id="{93B985E0-59D5-477E-A3D4-71BD2C33554A}"/>
              </a:ext>
            </a:extLst>
          </p:cNvPr>
          <p:cNvSpPr>
            <a:spLocks noGrp="1" noChangeAspect="1"/>
          </p:cNvSpPr>
          <p:nvPr>
            <p:ph type="body" sz="quarter" idx="16"/>
          </p:nvPr>
        </p:nvSpPr>
        <p:spPr>
          <a:xfrm>
            <a:off x="3075300" y="3600000"/>
            <a:ext cx="2700000" cy="2700000"/>
          </a:xfrm>
          <a:prstGeom prst="ellipse">
            <a:avLst/>
          </a:prstGeom>
          <a:solidFill>
            <a:schemeClr val="accent3"/>
          </a:solidFill>
        </p:spPr>
        <p:txBody>
          <a:bodyPr bIns="72000" anchor="ctr" anchorCtr="0"/>
          <a:lstStyle>
            <a:lvl1pPr marL="0" indent="0" algn="ctr">
              <a:lnSpc>
                <a:spcPts val="1590"/>
              </a:lnSpc>
              <a:buNone/>
              <a:defRPr sz="1410">
                <a:solidFill>
                  <a:schemeClr val="bg1"/>
                </a:solidFill>
              </a:defRPr>
            </a:lvl1pPr>
          </a:lstStyle>
          <a:p>
            <a:pPr lvl="0"/>
            <a:r>
              <a:rPr lang="en-US" dirty="0"/>
              <a:t>Click to edit Master text styles</a:t>
            </a:r>
            <a:endParaRPr lang="en-GB" dirty="0"/>
          </a:p>
        </p:txBody>
      </p:sp>
      <p:sp>
        <p:nvSpPr>
          <p:cNvPr id="11" name="Text Placeholder 6">
            <a:extLst>
              <a:ext uri="{FF2B5EF4-FFF2-40B4-BE49-F238E27FC236}">
                <a16:creationId xmlns:a16="http://schemas.microsoft.com/office/drawing/2014/main" id="{13FF9E45-0FEC-4082-894A-E0B17AE72BC5}"/>
              </a:ext>
            </a:extLst>
          </p:cNvPr>
          <p:cNvSpPr>
            <a:spLocks noGrp="1" noChangeAspect="1"/>
          </p:cNvSpPr>
          <p:nvPr>
            <p:ph type="body" sz="quarter" idx="17"/>
          </p:nvPr>
        </p:nvSpPr>
        <p:spPr>
          <a:xfrm>
            <a:off x="6417900" y="3600000"/>
            <a:ext cx="2700000" cy="2700000"/>
          </a:xfrm>
          <a:prstGeom prst="ellipse">
            <a:avLst/>
          </a:prstGeom>
          <a:solidFill>
            <a:schemeClr val="accent6"/>
          </a:solidFill>
        </p:spPr>
        <p:txBody>
          <a:bodyPr bIns="72000" anchor="ctr" anchorCtr="0"/>
          <a:lstStyle>
            <a:lvl1pPr marL="0" indent="0" algn="ctr">
              <a:lnSpc>
                <a:spcPts val="1590"/>
              </a:lnSpc>
              <a:buNone/>
              <a:defRPr sz="1410">
                <a:solidFill>
                  <a:schemeClr val="bg1"/>
                </a:solidFill>
              </a:defRPr>
            </a:lvl1pPr>
          </a:lstStyle>
          <a:p>
            <a:pPr lvl="0"/>
            <a:r>
              <a:rPr lang="en-US" dirty="0"/>
              <a:t>Click to edit Master text styles</a:t>
            </a:r>
            <a:endParaRPr lang="en-GB" dirty="0"/>
          </a:p>
        </p:txBody>
      </p:sp>
    </p:spTree>
    <p:extLst>
      <p:ext uri="{BB962C8B-B14F-4D97-AF65-F5344CB8AC3E}">
        <p14:creationId xmlns:p14="http://schemas.microsoft.com/office/powerpoint/2010/main" val="180011029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Process diagram">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0569E6-90FA-4CC2-8D14-9F7CF2E0946B}"/>
              </a:ext>
            </a:extLst>
          </p:cNvPr>
          <p:cNvSpPr>
            <a:spLocks noGrp="1"/>
          </p:cNvSpPr>
          <p:nvPr>
            <p:ph type="title"/>
          </p:nvPr>
        </p:nvSpPr>
        <p:spPr/>
        <p:txBody>
          <a:bodyPr/>
          <a:lstStyle/>
          <a:p>
            <a:r>
              <a:rPr lang="en-US" dirty="0"/>
              <a:t>Click to edit Master title style</a:t>
            </a:r>
            <a:endParaRPr lang="en-GB" dirty="0"/>
          </a:p>
        </p:txBody>
      </p:sp>
      <p:sp>
        <p:nvSpPr>
          <p:cNvPr id="4" name="Footer Placeholder 3">
            <a:extLst>
              <a:ext uri="{FF2B5EF4-FFF2-40B4-BE49-F238E27FC236}">
                <a16:creationId xmlns:a16="http://schemas.microsoft.com/office/drawing/2014/main" id="{823A535C-B684-4A5A-A436-989BCF2136EF}"/>
              </a:ext>
            </a:extLst>
          </p:cNvPr>
          <p:cNvSpPr>
            <a:spLocks noGrp="1"/>
          </p:cNvSpPr>
          <p:nvPr>
            <p:ph type="ftr" sz="quarter" idx="11"/>
          </p:nvPr>
        </p:nvSpPr>
        <p:spPr>
          <a:xfrm>
            <a:off x="471600" y="6400800"/>
            <a:ext cx="5400000" cy="226800"/>
          </a:xfrm>
          <a:prstGeom prst="rect">
            <a:avLst/>
          </a:prstGeom>
        </p:spPr>
        <p:txBody>
          <a:bodyPr vert="horz" lIns="0" tIns="0" rIns="0" bIns="0" rtlCol="0" anchor="t" anchorCtr="0">
            <a:noAutofit/>
          </a:bodyPr>
          <a:lstStyle>
            <a:defPPr>
              <a:defRPr lang="en-US"/>
            </a:defPPr>
            <a:lvl1pPr marL="0" algn="l" defTabSz="914400" rtl="0" eaLnBrk="1" latinLnBrk="0" hangingPunct="1">
              <a:defRPr lang="en-GB" sz="800" kern="1200" noProof="0">
                <a:solidFill>
                  <a:schemeClr val="accent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ts val="970"/>
              </a:lnSpc>
            </a:pPr>
            <a:r>
              <a:rPr lang="en-GB"/>
              <a:t>© Colt Technology Services  |  Presentation title here</a:t>
            </a:r>
            <a:endParaRPr lang="en-GB" dirty="0">
              <a:solidFill>
                <a:schemeClr val="accent2"/>
              </a:solidFill>
            </a:endParaRPr>
          </a:p>
        </p:txBody>
      </p:sp>
      <p:sp>
        <p:nvSpPr>
          <p:cNvPr id="5" name="Slide Number Placeholder 4">
            <a:extLst>
              <a:ext uri="{FF2B5EF4-FFF2-40B4-BE49-F238E27FC236}">
                <a16:creationId xmlns:a16="http://schemas.microsoft.com/office/drawing/2014/main" id="{AAF80D53-ACFA-4215-8119-91E082705FEE}"/>
              </a:ext>
            </a:extLst>
          </p:cNvPr>
          <p:cNvSpPr>
            <a:spLocks noGrp="1"/>
          </p:cNvSpPr>
          <p:nvPr>
            <p:ph type="sldNum" sz="quarter" idx="12"/>
          </p:nvPr>
        </p:nvSpPr>
        <p:spPr>
          <a:xfrm>
            <a:off x="11278800" y="6400800"/>
            <a:ext cx="442800" cy="226800"/>
          </a:xfrm>
          <a:prstGeom prst="rect">
            <a:avLst/>
          </a:prstGeom>
        </p:spPr>
        <p:txBody>
          <a:bodyPr/>
          <a:lstStyle/>
          <a:p>
            <a:pPr algn="r">
              <a:lnSpc>
                <a:spcPts val="970"/>
              </a:lnSpc>
            </a:pPr>
            <a:fld id="{0B868178-02AE-42FC-958D-6B8F13B60175}" type="slidenum">
              <a:rPr lang="en-GB" smtClean="0"/>
              <a:pPr algn="r">
                <a:lnSpc>
                  <a:spcPts val="970"/>
                </a:lnSpc>
              </a:pPr>
              <a:t>‹#›</a:t>
            </a:fld>
            <a:endParaRPr lang="en-GB" sz="800" noProof="0">
              <a:solidFill>
                <a:schemeClr val="bg1"/>
              </a:solidFill>
            </a:endParaRPr>
          </a:p>
        </p:txBody>
      </p:sp>
      <p:sp>
        <p:nvSpPr>
          <p:cNvPr id="7" name="Text Placeholder 6">
            <a:extLst>
              <a:ext uri="{FF2B5EF4-FFF2-40B4-BE49-F238E27FC236}">
                <a16:creationId xmlns:a16="http://schemas.microsoft.com/office/drawing/2014/main" id="{2C05F560-0912-4033-93C3-F7C73BE411B9}"/>
              </a:ext>
            </a:extLst>
          </p:cNvPr>
          <p:cNvSpPr>
            <a:spLocks noGrp="1" noChangeAspect="1"/>
          </p:cNvSpPr>
          <p:nvPr>
            <p:ph type="body" sz="quarter" idx="13" hasCustomPrompt="1"/>
          </p:nvPr>
        </p:nvSpPr>
        <p:spPr>
          <a:xfrm>
            <a:off x="468000" y="1800000"/>
            <a:ext cx="1944000" cy="1944000"/>
          </a:xfrm>
          <a:prstGeom prst="ellipse">
            <a:avLst/>
          </a:prstGeom>
          <a:solidFill>
            <a:schemeClr val="accent1"/>
          </a:solidFill>
        </p:spPr>
        <p:txBody>
          <a:bodyPr bIns="72000" anchor="ctr" anchorCtr="0"/>
          <a:lstStyle>
            <a:lvl1pPr marL="0" indent="0" algn="ctr">
              <a:lnSpc>
                <a:spcPts val="6000"/>
              </a:lnSpc>
              <a:spcAft>
                <a:spcPts val="1200"/>
              </a:spcAft>
              <a:buNone/>
              <a:defRPr sz="6000">
                <a:solidFill>
                  <a:schemeClr val="bg1"/>
                </a:solidFill>
              </a:defRPr>
            </a:lvl1pPr>
            <a:lvl2pPr marL="266700" indent="0" algn="ctr">
              <a:lnSpc>
                <a:spcPts val="1410"/>
              </a:lnSpc>
              <a:buNone/>
              <a:defRPr sz="1410">
                <a:solidFill>
                  <a:schemeClr val="bg1"/>
                </a:solidFill>
              </a:defRPr>
            </a:lvl2pPr>
          </a:lstStyle>
          <a:p>
            <a:pPr lvl="0"/>
            <a:r>
              <a:rPr lang="en-US" dirty="0"/>
              <a:t>0</a:t>
            </a:r>
          </a:p>
          <a:p>
            <a:pPr lvl="1"/>
            <a:r>
              <a:rPr lang="en-US" dirty="0"/>
              <a:t>Level 2</a:t>
            </a:r>
            <a:endParaRPr lang="en-GB" dirty="0"/>
          </a:p>
        </p:txBody>
      </p:sp>
      <p:sp>
        <p:nvSpPr>
          <p:cNvPr id="8" name="Text Placeholder 6">
            <a:extLst>
              <a:ext uri="{FF2B5EF4-FFF2-40B4-BE49-F238E27FC236}">
                <a16:creationId xmlns:a16="http://schemas.microsoft.com/office/drawing/2014/main" id="{A5CDB310-1C7B-49D2-A591-201A8C5DAC10}"/>
              </a:ext>
            </a:extLst>
          </p:cNvPr>
          <p:cNvSpPr>
            <a:spLocks noGrp="1" noChangeAspect="1"/>
          </p:cNvSpPr>
          <p:nvPr>
            <p:ph type="body" sz="quarter" idx="14" hasCustomPrompt="1"/>
          </p:nvPr>
        </p:nvSpPr>
        <p:spPr>
          <a:xfrm>
            <a:off x="2796300" y="1800000"/>
            <a:ext cx="1944000" cy="1944000"/>
          </a:xfrm>
          <a:prstGeom prst="ellipse">
            <a:avLst/>
          </a:prstGeom>
          <a:solidFill>
            <a:schemeClr val="accent4"/>
          </a:solidFill>
        </p:spPr>
        <p:txBody>
          <a:bodyPr bIns="72000" anchor="ctr" anchorCtr="0"/>
          <a:lstStyle>
            <a:lvl1pPr marL="0" indent="0" algn="ctr">
              <a:lnSpc>
                <a:spcPts val="6000"/>
              </a:lnSpc>
              <a:spcAft>
                <a:spcPts val="1200"/>
              </a:spcAft>
              <a:buNone/>
              <a:defRPr sz="6000">
                <a:solidFill>
                  <a:schemeClr val="bg1"/>
                </a:solidFill>
              </a:defRPr>
            </a:lvl1pPr>
            <a:lvl2pPr marL="266700" indent="0" algn="ctr">
              <a:lnSpc>
                <a:spcPts val="1410"/>
              </a:lnSpc>
              <a:buNone/>
              <a:defRPr sz="1410">
                <a:solidFill>
                  <a:schemeClr val="bg1"/>
                </a:solidFill>
              </a:defRPr>
            </a:lvl2pPr>
          </a:lstStyle>
          <a:p>
            <a:pPr lvl="0"/>
            <a:r>
              <a:rPr lang="en-US" dirty="0"/>
              <a:t>0</a:t>
            </a:r>
          </a:p>
          <a:p>
            <a:pPr lvl="1"/>
            <a:r>
              <a:rPr lang="en-US" dirty="0"/>
              <a:t>Level 2</a:t>
            </a:r>
            <a:endParaRPr lang="en-GB" dirty="0"/>
          </a:p>
        </p:txBody>
      </p:sp>
      <p:sp>
        <p:nvSpPr>
          <p:cNvPr id="9" name="Text Placeholder 6">
            <a:extLst>
              <a:ext uri="{FF2B5EF4-FFF2-40B4-BE49-F238E27FC236}">
                <a16:creationId xmlns:a16="http://schemas.microsoft.com/office/drawing/2014/main" id="{9EA1E10F-8C41-4F78-A800-FA323D20EB75}"/>
              </a:ext>
            </a:extLst>
          </p:cNvPr>
          <p:cNvSpPr>
            <a:spLocks noGrp="1" noChangeAspect="1"/>
          </p:cNvSpPr>
          <p:nvPr>
            <p:ph type="body" sz="quarter" idx="15" hasCustomPrompt="1"/>
          </p:nvPr>
        </p:nvSpPr>
        <p:spPr>
          <a:xfrm>
            <a:off x="5124600" y="1800000"/>
            <a:ext cx="1944000" cy="1944000"/>
          </a:xfrm>
          <a:prstGeom prst="ellipse">
            <a:avLst/>
          </a:prstGeom>
          <a:solidFill>
            <a:schemeClr val="accent5"/>
          </a:solidFill>
        </p:spPr>
        <p:txBody>
          <a:bodyPr bIns="72000" anchor="ctr" anchorCtr="0"/>
          <a:lstStyle>
            <a:lvl1pPr marL="0" indent="0" algn="ctr">
              <a:lnSpc>
                <a:spcPts val="6000"/>
              </a:lnSpc>
              <a:spcAft>
                <a:spcPts val="1200"/>
              </a:spcAft>
              <a:buNone/>
              <a:defRPr sz="6000">
                <a:solidFill>
                  <a:schemeClr val="bg1"/>
                </a:solidFill>
              </a:defRPr>
            </a:lvl1pPr>
            <a:lvl2pPr marL="266700" indent="0" algn="ctr">
              <a:lnSpc>
                <a:spcPts val="1410"/>
              </a:lnSpc>
              <a:buNone/>
              <a:defRPr sz="1410">
                <a:solidFill>
                  <a:schemeClr val="bg1"/>
                </a:solidFill>
              </a:defRPr>
            </a:lvl2pPr>
          </a:lstStyle>
          <a:p>
            <a:pPr lvl="0"/>
            <a:r>
              <a:rPr lang="en-US" dirty="0"/>
              <a:t>0</a:t>
            </a:r>
          </a:p>
          <a:p>
            <a:pPr lvl="1"/>
            <a:r>
              <a:rPr lang="en-US" dirty="0"/>
              <a:t>Level 2</a:t>
            </a:r>
            <a:endParaRPr lang="en-GB" dirty="0"/>
          </a:p>
        </p:txBody>
      </p:sp>
      <p:sp>
        <p:nvSpPr>
          <p:cNvPr id="10" name="Text Placeholder 6">
            <a:extLst>
              <a:ext uri="{FF2B5EF4-FFF2-40B4-BE49-F238E27FC236}">
                <a16:creationId xmlns:a16="http://schemas.microsoft.com/office/drawing/2014/main" id="{93B985E0-59D5-477E-A3D4-71BD2C33554A}"/>
              </a:ext>
            </a:extLst>
          </p:cNvPr>
          <p:cNvSpPr>
            <a:spLocks noGrp="1" noChangeAspect="1"/>
          </p:cNvSpPr>
          <p:nvPr>
            <p:ph type="body" sz="quarter" idx="16" hasCustomPrompt="1"/>
          </p:nvPr>
        </p:nvSpPr>
        <p:spPr>
          <a:xfrm>
            <a:off x="7452900" y="1800000"/>
            <a:ext cx="1944000" cy="1944000"/>
          </a:xfrm>
          <a:prstGeom prst="ellipse">
            <a:avLst/>
          </a:prstGeom>
          <a:solidFill>
            <a:schemeClr val="accent3"/>
          </a:solidFill>
        </p:spPr>
        <p:txBody>
          <a:bodyPr bIns="72000" anchor="ctr" anchorCtr="0"/>
          <a:lstStyle>
            <a:lvl1pPr marL="0" indent="0" algn="ctr">
              <a:lnSpc>
                <a:spcPts val="6000"/>
              </a:lnSpc>
              <a:spcAft>
                <a:spcPts val="1200"/>
              </a:spcAft>
              <a:buNone/>
              <a:defRPr sz="6000">
                <a:solidFill>
                  <a:schemeClr val="bg1"/>
                </a:solidFill>
              </a:defRPr>
            </a:lvl1pPr>
            <a:lvl2pPr marL="266700" indent="0" algn="ctr">
              <a:lnSpc>
                <a:spcPts val="1410"/>
              </a:lnSpc>
              <a:buNone/>
              <a:defRPr sz="1410">
                <a:solidFill>
                  <a:schemeClr val="bg1"/>
                </a:solidFill>
              </a:defRPr>
            </a:lvl2pPr>
          </a:lstStyle>
          <a:p>
            <a:pPr lvl="0"/>
            <a:r>
              <a:rPr lang="en-US" dirty="0"/>
              <a:t>0</a:t>
            </a:r>
          </a:p>
          <a:p>
            <a:pPr lvl="1"/>
            <a:r>
              <a:rPr lang="en-US" dirty="0"/>
              <a:t>Level 2</a:t>
            </a:r>
            <a:endParaRPr lang="en-GB" dirty="0"/>
          </a:p>
        </p:txBody>
      </p:sp>
      <p:sp>
        <p:nvSpPr>
          <p:cNvPr id="11" name="Text Placeholder 6">
            <a:extLst>
              <a:ext uri="{FF2B5EF4-FFF2-40B4-BE49-F238E27FC236}">
                <a16:creationId xmlns:a16="http://schemas.microsoft.com/office/drawing/2014/main" id="{13FF9E45-0FEC-4082-894A-E0B17AE72BC5}"/>
              </a:ext>
            </a:extLst>
          </p:cNvPr>
          <p:cNvSpPr>
            <a:spLocks noGrp="1" noChangeAspect="1"/>
          </p:cNvSpPr>
          <p:nvPr>
            <p:ph type="body" sz="quarter" idx="17" hasCustomPrompt="1"/>
          </p:nvPr>
        </p:nvSpPr>
        <p:spPr>
          <a:xfrm>
            <a:off x="9781200" y="1800000"/>
            <a:ext cx="1944000" cy="1944000"/>
          </a:xfrm>
          <a:prstGeom prst="ellipse">
            <a:avLst/>
          </a:prstGeom>
          <a:solidFill>
            <a:schemeClr val="accent6"/>
          </a:solidFill>
        </p:spPr>
        <p:txBody>
          <a:bodyPr bIns="72000" anchor="ctr" anchorCtr="0"/>
          <a:lstStyle>
            <a:lvl1pPr marL="0" indent="0" algn="ctr">
              <a:lnSpc>
                <a:spcPts val="6000"/>
              </a:lnSpc>
              <a:spcAft>
                <a:spcPts val="1200"/>
              </a:spcAft>
              <a:buNone/>
              <a:defRPr sz="6000">
                <a:solidFill>
                  <a:schemeClr val="bg1"/>
                </a:solidFill>
              </a:defRPr>
            </a:lvl1pPr>
            <a:lvl2pPr marL="266700" indent="0" algn="ctr">
              <a:lnSpc>
                <a:spcPts val="1410"/>
              </a:lnSpc>
              <a:buNone/>
              <a:defRPr sz="1410">
                <a:solidFill>
                  <a:schemeClr val="bg1"/>
                </a:solidFill>
              </a:defRPr>
            </a:lvl2pPr>
          </a:lstStyle>
          <a:p>
            <a:pPr lvl="0"/>
            <a:r>
              <a:rPr lang="en-US" dirty="0"/>
              <a:t>0</a:t>
            </a:r>
          </a:p>
          <a:p>
            <a:pPr lvl="1"/>
            <a:r>
              <a:rPr lang="en-US" dirty="0"/>
              <a:t>Level 2</a:t>
            </a:r>
            <a:endParaRPr lang="en-GB" dirty="0"/>
          </a:p>
        </p:txBody>
      </p:sp>
      <p:sp>
        <p:nvSpPr>
          <p:cNvPr id="18" name="Text Placeholder 21">
            <a:extLst>
              <a:ext uri="{FF2B5EF4-FFF2-40B4-BE49-F238E27FC236}">
                <a16:creationId xmlns:a16="http://schemas.microsoft.com/office/drawing/2014/main" id="{56EFED39-4675-4D68-B9FB-26A294928B93}"/>
              </a:ext>
            </a:extLst>
          </p:cNvPr>
          <p:cNvSpPr>
            <a:spLocks noGrp="1"/>
          </p:cNvSpPr>
          <p:nvPr>
            <p:ph type="body" sz="quarter" idx="22"/>
          </p:nvPr>
        </p:nvSpPr>
        <p:spPr>
          <a:xfrm>
            <a:off x="468000" y="4103999"/>
            <a:ext cx="1944000" cy="2071376"/>
          </a:xfrm>
        </p:spPr>
        <p:txBody>
          <a:bodyPr/>
          <a:lstStyle>
            <a:lvl1pPr marL="0" indent="0" algn="ctr">
              <a:lnSpc>
                <a:spcPts val="1230"/>
              </a:lnSpc>
              <a:buNone/>
              <a:defRPr sz="1060">
                <a:solidFill>
                  <a:schemeClr val="tx2"/>
                </a:solidFill>
              </a:defRPr>
            </a:lvl1pPr>
            <a:lvl2pPr marL="0" indent="0" algn="ctr">
              <a:lnSpc>
                <a:spcPts val="1230"/>
              </a:lnSpc>
              <a:buClr>
                <a:schemeClr val="accent6"/>
              </a:buClr>
              <a:buFont typeface="Arial" panose="020B0604020202020204" pitchFamily="34" charset="0"/>
              <a:buNone/>
              <a:defRPr sz="1060"/>
            </a:lvl2pPr>
          </a:lstStyle>
          <a:p>
            <a:pPr lvl="0"/>
            <a:r>
              <a:rPr lang="en-US" dirty="0"/>
              <a:t>Click to edit Master text styles</a:t>
            </a:r>
          </a:p>
          <a:p>
            <a:pPr lvl="1"/>
            <a:r>
              <a:rPr lang="en-US" dirty="0"/>
              <a:t>Second level</a:t>
            </a:r>
            <a:endParaRPr lang="en-GB" dirty="0"/>
          </a:p>
        </p:txBody>
      </p:sp>
      <p:sp>
        <p:nvSpPr>
          <p:cNvPr id="19" name="Text Placeholder 21">
            <a:extLst>
              <a:ext uri="{FF2B5EF4-FFF2-40B4-BE49-F238E27FC236}">
                <a16:creationId xmlns:a16="http://schemas.microsoft.com/office/drawing/2014/main" id="{5D18E4D3-EB66-4890-87B4-6F6873D652E0}"/>
              </a:ext>
            </a:extLst>
          </p:cNvPr>
          <p:cNvSpPr>
            <a:spLocks noGrp="1"/>
          </p:cNvSpPr>
          <p:nvPr>
            <p:ph type="body" sz="quarter" idx="23"/>
          </p:nvPr>
        </p:nvSpPr>
        <p:spPr>
          <a:xfrm>
            <a:off x="2796300" y="4103999"/>
            <a:ext cx="1944000" cy="2071376"/>
          </a:xfrm>
        </p:spPr>
        <p:txBody>
          <a:bodyPr/>
          <a:lstStyle>
            <a:lvl1pPr marL="0" indent="0" algn="ctr">
              <a:lnSpc>
                <a:spcPts val="1230"/>
              </a:lnSpc>
              <a:buNone/>
              <a:defRPr sz="1060">
                <a:solidFill>
                  <a:schemeClr val="tx2"/>
                </a:solidFill>
              </a:defRPr>
            </a:lvl1pPr>
            <a:lvl2pPr marL="0" indent="0" algn="ctr">
              <a:lnSpc>
                <a:spcPts val="1230"/>
              </a:lnSpc>
              <a:buClr>
                <a:schemeClr val="accent6"/>
              </a:buClr>
              <a:buFont typeface="Arial" panose="020B0604020202020204" pitchFamily="34" charset="0"/>
              <a:buNone/>
              <a:defRPr sz="1060"/>
            </a:lvl2pPr>
          </a:lstStyle>
          <a:p>
            <a:pPr lvl="0"/>
            <a:r>
              <a:rPr lang="en-US" dirty="0"/>
              <a:t>Click to edit Master text styles</a:t>
            </a:r>
          </a:p>
          <a:p>
            <a:pPr lvl="1"/>
            <a:r>
              <a:rPr lang="en-US" dirty="0"/>
              <a:t>Second level</a:t>
            </a:r>
            <a:endParaRPr lang="en-GB" dirty="0"/>
          </a:p>
        </p:txBody>
      </p:sp>
      <p:sp>
        <p:nvSpPr>
          <p:cNvPr id="21" name="Text Placeholder 21">
            <a:extLst>
              <a:ext uri="{FF2B5EF4-FFF2-40B4-BE49-F238E27FC236}">
                <a16:creationId xmlns:a16="http://schemas.microsoft.com/office/drawing/2014/main" id="{12516868-3302-4C14-9A1B-F5A67AB96E43}"/>
              </a:ext>
            </a:extLst>
          </p:cNvPr>
          <p:cNvSpPr>
            <a:spLocks noGrp="1"/>
          </p:cNvSpPr>
          <p:nvPr>
            <p:ph type="body" sz="quarter" idx="25"/>
          </p:nvPr>
        </p:nvSpPr>
        <p:spPr>
          <a:xfrm>
            <a:off x="5124000" y="4103999"/>
            <a:ext cx="1944000" cy="2071376"/>
          </a:xfrm>
        </p:spPr>
        <p:txBody>
          <a:bodyPr/>
          <a:lstStyle>
            <a:lvl1pPr marL="0" indent="0" algn="ctr">
              <a:lnSpc>
                <a:spcPts val="1230"/>
              </a:lnSpc>
              <a:buNone/>
              <a:defRPr sz="1060">
                <a:solidFill>
                  <a:schemeClr val="tx2"/>
                </a:solidFill>
              </a:defRPr>
            </a:lvl1pPr>
            <a:lvl2pPr marL="0" indent="0" algn="ctr">
              <a:lnSpc>
                <a:spcPts val="1230"/>
              </a:lnSpc>
              <a:buClr>
                <a:schemeClr val="accent6"/>
              </a:buClr>
              <a:buFont typeface="Arial" panose="020B0604020202020204" pitchFamily="34" charset="0"/>
              <a:buNone/>
              <a:defRPr sz="1060"/>
            </a:lvl2pPr>
          </a:lstStyle>
          <a:p>
            <a:pPr lvl="0"/>
            <a:r>
              <a:rPr lang="en-US" dirty="0"/>
              <a:t>Click to edit Master text styles</a:t>
            </a:r>
          </a:p>
          <a:p>
            <a:pPr lvl="1"/>
            <a:r>
              <a:rPr lang="en-US" dirty="0"/>
              <a:t>Second level</a:t>
            </a:r>
            <a:endParaRPr lang="en-GB" dirty="0"/>
          </a:p>
        </p:txBody>
      </p:sp>
      <p:sp>
        <p:nvSpPr>
          <p:cNvPr id="22" name="Text Placeholder 21">
            <a:extLst>
              <a:ext uri="{FF2B5EF4-FFF2-40B4-BE49-F238E27FC236}">
                <a16:creationId xmlns:a16="http://schemas.microsoft.com/office/drawing/2014/main" id="{F0210EC0-BE02-4059-8F9D-D336BFB873A8}"/>
              </a:ext>
            </a:extLst>
          </p:cNvPr>
          <p:cNvSpPr>
            <a:spLocks noGrp="1"/>
          </p:cNvSpPr>
          <p:nvPr>
            <p:ph type="body" sz="quarter" idx="26"/>
          </p:nvPr>
        </p:nvSpPr>
        <p:spPr>
          <a:xfrm>
            <a:off x="7452900" y="4104000"/>
            <a:ext cx="1944000" cy="2071376"/>
          </a:xfrm>
        </p:spPr>
        <p:txBody>
          <a:bodyPr/>
          <a:lstStyle>
            <a:lvl1pPr marL="0" indent="0" algn="ctr">
              <a:lnSpc>
                <a:spcPts val="1230"/>
              </a:lnSpc>
              <a:buNone/>
              <a:defRPr sz="1060">
                <a:solidFill>
                  <a:schemeClr val="tx2"/>
                </a:solidFill>
              </a:defRPr>
            </a:lvl1pPr>
            <a:lvl2pPr marL="0" indent="0" algn="ctr">
              <a:lnSpc>
                <a:spcPts val="1230"/>
              </a:lnSpc>
              <a:buClr>
                <a:schemeClr val="accent6"/>
              </a:buClr>
              <a:buFont typeface="Arial" panose="020B0604020202020204" pitchFamily="34" charset="0"/>
              <a:buNone/>
              <a:defRPr sz="1060"/>
            </a:lvl2pPr>
          </a:lstStyle>
          <a:p>
            <a:pPr lvl="0"/>
            <a:r>
              <a:rPr lang="en-US" dirty="0"/>
              <a:t>Click to edit Master text styles</a:t>
            </a:r>
          </a:p>
          <a:p>
            <a:pPr lvl="1"/>
            <a:r>
              <a:rPr lang="en-US" dirty="0"/>
              <a:t>Second level</a:t>
            </a:r>
            <a:endParaRPr lang="en-GB" dirty="0"/>
          </a:p>
        </p:txBody>
      </p:sp>
      <p:sp>
        <p:nvSpPr>
          <p:cNvPr id="23" name="Text Placeholder 21">
            <a:extLst>
              <a:ext uri="{FF2B5EF4-FFF2-40B4-BE49-F238E27FC236}">
                <a16:creationId xmlns:a16="http://schemas.microsoft.com/office/drawing/2014/main" id="{F6571880-7AF6-4A9C-9E91-1B90F93DA668}"/>
              </a:ext>
            </a:extLst>
          </p:cNvPr>
          <p:cNvSpPr>
            <a:spLocks noGrp="1"/>
          </p:cNvSpPr>
          <p:nvPr>
            <p:ph type="body" sz="quarter" idx="27"/>
          </p:nvPr>
        </p:nvSpPr>
        <p:spPr>
          <a:xfrm>
            <a:off x="9781200" y="4104000"/>
            <a:ext cx="1944000" cy="2071376"/>
          </a:xfrm>
        </p:spPr>
        <p:txBody>
          <a:bodyPr/>
          <a:lstStyle>
            <a:lvl1pPr marL="0" indent="0" algn="ctr">
              <a:lnSpc>
                <a:spcPts val="1230"/>
              </a:lnSpc>
              <a:buNone/>
              <a:defRPr sz="1060">
                <a:solidFill>
                  <a:schemeClr val="tx2"/>
                </a:solidFill>
              </a:defRPr>
            </a:lvl1pPr>
            <a:lvl2pPr marL="0" indent="0" algn="ctr">
              <a:lnSpc>
                <a:spcPts val="1230"/>
              </a:lnSpc>
              <a:buClr>
                <a:schemeClr val="accent6"/>
              </a:buClr>
              <a:buFont typeface="Arial" panose="020B0604020202020204" pitchFamily="34" charset="0"/>
              <a:buNone/>
              <a:defRPr sz="1060"/>
            </a:lvl2pPr>
          </a:lstStyle>
          <a:p>
            <a:pPr lvl="0"/>
            <a:r>
              <a:rPr lang="en-US" dirty="0"/>
              <a:t>Click to edit Master text styles</a:t>
            </a:r>
          </a:p>
          <a:p>
            <a:pPr lvl="1"/>
            <a:r>
              <a:rPr lang="en-US" dirty="0"/>
              <a:t>Second level</a:t>
            </a:r>
            <a:endParaRPr lang="en-GB" dirty="0"/>
          </a:p>
        </p:txBody>
      </p:sp>
    </p:spTree>
    <p:extLst>
      <p:ext uri="{BB962C8B-B14F-4D97-AF65-F5344CB8AC3E}">
        <p14:creationId xmlns:p14="http://schemas.microsoft.com/office/powerpoint/2010/main" val="304321121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INTRODUCTION: 2 PEOPL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9" name="Tijdelijke aanduiding voor afbeelding 12">
            <a:extLst>
              <a:ext uri="{FF2B5EF4-FFF2-40B4-BE49-F238E27FC236}">
                <a16:creationId xmlns:a16="http://schemas.microsoft.com/office/drawing/2014/main" id="{27BACDE8-BA7B-4623-B097-3849D34912CC}"/>
              </a:ext>
            </a:extLst>
          </p:cNvPr>
          <p:cNvSpPr>
            <a:spLocks noGrp="1"/>
          </p:cNvSpPr>
          <p:nvPr>
            <p:ph type="pic" sz="quarter" idx="14" hasCustomPrompt="1"/>
          </p:nvPr>
        </p:nvSpPr>
        <p:spPr>
          <a:xfrm>
            <a:off x="764089" y="1453020"/>
            <a:ext cx="2247969" cy="3206662"/>
          </a:xfrm>
          <a:solidFill>
            <a:schemeClr val="bg1">
              <a:lumMod val="95000"/>
            </a:schemeClr>
          </a:solidFill>
        </p:spPr>
        <p:txBody>
          <a:bodyPr tIns="2376000"/>
          <a:lstStyle>
            <a:lvl1pPr marL="0" indent="0" algn="ctr">
              <a:buNone/>
              <a:defRPr sz="1050" b="1" baseline="0"/>
            </a:lvl1pPr>
          </a:lstStyle>
          <a:p>
            <a:r>
              <a:rPr kumimoji="0" lang="en-GB" sz="1100" b="0" i="0" u="none" strike="noStrike" kern="0" cap="none" spc="0" normalizeH="0" baseline="0" noProof="0">
                <a:ln>
                  <a:noFill/>
                </a:ln>
                <a:solidFill>
                  <a:srgbClr val="000000"/>
                </a:solidFill>
                <a:effectLst/>
                <a:uLnTx/>
                <a:uFillTx/>
                <a:latin typeface="+mn-lt"/>
                <a:cs typeface="Segoe UI Light" panose="020B0502040204020203" pitchFamily="34" charset="0"/>
              </a:rPr>
              <a:t>Click on the pictogram to </a:t>
            </a:r>
            <a:br>
              <a:rPr kumimoji="0" lang="en-GB"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GB" sz="1100" b="0" i="0" u="none" strike="noStrike" kern="0" cap="none" spc="0" normalizeH="0" baseline="0" noProof="0">
                <a:ln>
                  <a:noFill/>
                </a:ln>
                <a:solidFill>
                  <a:srgbClr val="000000"/>
                </a:solidFill>
                <a:effectLst/>
                <a:uLnTx/>
                <a:uFillTx/>
                <a:latin typeface="+mn-lt"/>
                <a:cs typeface="Segoe UI Light" panose="020B0502040204020203" pitchFamily="34" charset="0"/>
              </a:rPr>
              <a:t>insert a new image.</a:t>
            </a:r>
            <a:endParaRPr lang="en-GB" noProof="0"/>
          </a:p>
        </p:txBody>
      </p:sp>
      <p:sp>
        <p:nvSpPr>
          <p:cNvPr id="38" name="Tijdelijke aanduiding voor afbeelding 12">
            <a:extLst>
              <a:ext uri="{FF2B5EF4-FFF2-40B4-BE49-F238E27FC236}">
                <a16:creationId xmlns:a16="http://schemas.microsoft.com/office/drawing/2014/main" id="{BBC51933-18F1-48F8-A1DC-F25017E86FD7}"/>
              </a:ext>
            </a:extLst>
          </p:cNvPr>
          <p:cNvSpPr>
            <a:spLocks noGrp="1"/>
          </p:cNvSpPr>
          <p:nvPr>
            <p:ph type="pic" sz="quarter" idx="15" hasCustomPrompt="1"/>
          </p:nvPr>
        </p:nvSpPr>
        <p:spPr>
          <a:xfrm>
            <a:off x="6439811" y="1453020"/>
            <a:ext cx="2247969" cy="3206662"/>
          </a:xfrm>
          <a:solidFill>
            <a:schemeClr val="bg1">
              <a:lumMod val="95000"/>
            </a:schemeClr>
          </a:solidFill>
        </p:spPr>
        <p:txBody>
          <a:bodyPr tIns="2376000"/>
          <a:lstStyle>
            <a:lvl1pPr marL="0" indent="0" algn="ctr">
              <a:buNone/>
              <a:defRPr sz="1050" b="1" baseline="0"/>
            </a:lvl1pPr>
          </a:lstStyle>
          <a:p>
            <a:r>
              <a:rPr kumimoji="0" lang="en-GB" sz="1100" b="0" i="0" u="none" strike="noStrike" kern="0" cap="none" spc="0" normalizeH="0" baseline="0" noProof="0">
                <a:ln>
                  <a:noFill/>
                </a:ln>
                <a:solidFill>
                  <a:srgbClr val="000000"/>
                </a:solidFill>
                <a:effectLst/>
                <a:uLnTx/>
                <a:uFillTx/>
                <a:latin typeface="+mn-lt"/>
                <a:cs typeface="Segoe UI Light" panose="020B0502040204020203" pitchFamily="34" charset="0"/>
              </a:rPr>
              <a:t>Click on the pictogram to </a:t>
            </a:r>
            <a:br>
              <a:rPr kumimoji="0" lang="en-GB"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GB" sz="1100" b="0" i="0" u="none" strike="noStrike" kern="0" cap="none" spc="0" normalizeH="0" baseline="0" noProof="0">
                <a:ln>
                  <a:noFill/>
                </a:ln>
                <a:solidFill>
                  <a:srgbClr val="000000"/>
                </a:solidFill>
                <a:effectLst/>
                <a:uLnTx/>
                <a:uFillTx/>
                <a:latin typeface="+mn-lt"/>
                <a:cs typeface="Segoe UI Light" panose="020B0502040204020203" pitchFamily="34" charset="0"/>
              </a:rPr>
              <a:t>insert a new image.</a:t>
            </a:r>
            <a:endParaRPr lang="en-GB" noProof="0"/>
          </a:p>
        </p:txBody>
      </p:sp>
      <p:sp>
        <p:nvSpPr>
          <p:cNvPr id="8" name="Title 1">
            <a:extLst>
              <a:ext uri="{FF2B5EF4-FFF2-40B4-BE49-F238E27FC236}">
                <a16:creationId xmlns:a16="http://schemas.microsoft.com/office/drawing/2014/main" id="{8D0A1F69-6E10-5B4B-AF6A-7CCBA0975288}"/>
              </a:ext>
            </a:extLst>
          </p:cNvPr>
          <p:cNvSpPr>
            <a:spLocks noGrp="1"/>
          </p:cNvSpPr>
          <p:nvPr>
            <p:ph type="title"/>
          </p:nvPr>
        </p:nvSpPr>
        <p:spPr>
          <a:xfrm>
            <a:off x="471600" y="457200"/>
            <a:ext cx="7502400" cy="896938"/>
          </a:xfrm>
        </p:spPr>
        <p:txBody>
          <a:bodyPr/>
          <a:lstStyle/>
          <a:p>
            <a:r>
              <a:rPr lang="en-US" dirty="0"/>
              <a:t>Click to edit Master title style</a:t>
            </a:r>
            <a:endParaRPr lang="en-GB" dirty="0"/>
          </a:p>
        </p:txBody>
      </p:sp>
      <p:sp>
        <p:nvSpPr>
          <p:cNvPr id="2" name="TextBox 1">
            <a:extLst>
              <a:ext uri="{FF2B5EF4-FFF2-40B4-BE49-F238E27FC236}">
                <a16:creationId xmlns:a16="http://schemas.microsoft.com/office/drawing/2014/main" id="{676FA60A-772C-AD4A-A882-4C3CA21ED316}"/>
              </a:ext>
            </a:extLst>
          </p:cNvPr>
          <p:cNvSpPr txBox="1"/>
          <p:nvPr userDrawn="1"/>
        </p:nvSpPr>
        <p:spPr>
          <a:xfrm>
            <a:off x="1143000" y="5817870"/>
            <a:ext cx="0" cy="0"/>
          </a:xfrm>
          <a:prstGeom prst="rect">
            <a:avLst/>
          </a:prstGeom>
          <a:noFill/>
        </p:spPr>
        <p:txBody>
          <a:bodyPr wrap="none" lIns="0" tIns="0" rIns="0" bIns="0" rtlCol="0">
            <a:noAutofit/>
          </a:bodyPr>
          <a:lstStyle/>
          <a:p>
            <a:pPr algn="l">
              <a:lnSpc>
                <a:spcPts val="2290"/>
              </a:lnSpc>
            </a:pPr>
            <a:endParaRPr sz="1940" dirty="0" err="1">
              <a:solidFill>
                <a:schemeClr val="tx2"/>
              </a:solidFill>
            </a:endParaRPr>
          </a:p>
        </p:txBody>
      </p:sp>
      <p:sp>
        <p:nvSpPr>
          <p:cNvPr id="9" name="Tijdelijke aanduiding voor dianummer 5">
            <a:extLst>
              <a:ext uri="{FF2B5EF4-FFF2-40B4-BE49-F238E27FC236}">
                <a16:creationId xmlns:a16="http://schemas.microsoft.com/office/drawing/2014/main" id="{E2D7888C-66A3-0943-8A48-2175104877CB}"/>
              </a:ext>
            </a:extLst>
          </p:cNvPr>
          <p:cNvSpPr>
            <a:spLocks noGrp="1"/>
          </p:cNvSpPr>
          <p:nvPr>
            <p:ph type="sldNum" sz="quarter" idx="12"/>
          </p:nvPr>
        </p:nvSpPr>
        <p:spPr>
          <a:xfrm>
            <a:off x="11278800" y="6400800"/>
            <a:ext cx="442800" cy="226800"/>
          </a:xfrm>
        </p:spPr>
        <p:txBody>
          <a:bodyPr/>
          <a:lstStyle/>
          <a:p>
            <a:fld id="{7AD0FE45-509C-4BDF-9EDE-64426F8DF3D2}" type="slidenum">
              <a:rPr lang="en-GB" noProof="0" smtClean="0"/>
              <a:t>‹#›</a:t>
            </a:fld>
            <a:endParaRPr lang="en-GB" noProof="0"/>
          </a:p>
        </p:txBody>
      </p:sp>
    </p:spTree>
    <p:extLst>
      <p:ext uri="{BB962C8B-B14F-4D97-AF65-F5344CB8AC3E}">
        <p14:creationId xmlns:p14="http://schemas.microsoft.com/office/powerpoint/2010/main" val="158342899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4DE2BE-1E55-4CBB-AF1C-6949A5F3A0EE}"/>
              </a:ext>
            </a:extLst>
          </p:cNvPr>
          <p:cNvSpPr>
            <a:spLocks noGrp="1"/>
          </p:cNvSpPr>
          <p:nvPr>
            <p:ph type="title"/>
          </p:nvPr>
        </p:nvSpPr>
        <p:spPr/>
        <p:txBody>
          <a:bodyPr/>
          <a:lstStyle/>
          <a:p>
            <a:r>
              <a:rPr lang="en-US"/>
              <a:t>Click to edit Master title style</a:t>
            </a:r>
            <a:endParaRPr lang="en-GB" dirty="0"/>
          </a:p>
        </p:txBody>
      </p:sp>
      <p:sp>
        <p:nvSpPr>
          <p:cNvPr id="3" name="Content Placeholder 2">
            <a:extLst>
              <a:ext uri="{FF2B5EF4-FFF2-40B4-BE49-F238E27FC236}">
                <a16:creationId xmlns:a16="http://schemas.microsoft.com/office/drawing/2014/main" id="{CE1BC7D3-BAF4-4886-8107-DC6896636C1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Slide Number Placeholder 5">
            <a:extLst>
              <a:ext uri="{FF2B5EF4-FFF2-40B4-BE49-F238E27FC236}">
                <a16:creationId xmlns:a16="http://schemas.microsoft.com/office/drawing/2014/main" id="{E952999F-5742-4BA1-AD85-6F5512D310F6}"/>
              </a:ext>
            </a:extLst>
          </p:cNvPr>
          <p:cNvSpPr>
            <a:spLocks noGrp="1"/>
          </p:cNvSpPr>
          <p:nvPr>
            <p:ph type="sldNum" sz="quarter" idx="12"/>
          </p:nvPr>
        </p:nvSpPr>
        <p:spPr>
          <a:xfrm>
            <a:off x="11278800" y="6400800"/>
            <a:ext cx="442800" cy="226800"/>
          </a:xfrm>
        </p:spPr>
        <p:txBody>
          <a:bodyPr vert="horz" lIns="0" tIns="0" rIns="0" bIns="0" rtlCol="0" anchor="t" anchorCtr="0">
            <a:noAutofit/>
          </a:bodyPr>
          <a:lstStyle>
            <a:lvl1pPr>
              <a:defRPr lang="en-GB" smtClean="0"/>
            </a:lvl1pPr>
          </a:lstStyle>
          <a:p>
            <a:pPr algn="r">
              <a:lnSpc>
                <a:spcPts val="970"/>
              </a:lnSpc>
            </a:pPr>
            <a:fld id="{24A935F8-6F02-46CF-898B-F9D6B7DB9D8E}" type="slidenum">
              <a:rPr lang="en-GB" smtClean="0"/>
              <a:pPr algn="r">
                <a:lnSpc>
                  <a:spcPts val="970"/>
                </a:lnSpc>
              </a:pPr>
              <a:t>‹#›</a:t>
            </a:fld>
            <a:endParaRPr lang="en-GB"/>
          </a:p>
        </p:txBody>
      </p:sp>
    </p:spTree>
    <p:extLst>
      <p:ext uri="{BB962C8B-B14F-4D97-AF65-F5344CB8AC3E}">
        <p14:creationId xmlns:p14="http://schemas.microsoft.com/office/powerpoint/2010/main" val="230850208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INTRODUCTION: 4 PEOPLE">
    <p:spTree>
      <p:nvGrpSpPr>
        <p:cNvPr id="1" name=""/>
        <p:cNvGrpSpPr/>
        <p:nvPr/>
      </p:nvGrpSpPr>
      <p:grpSpPr>
        <a:xfrm>
          <a:off x="0" y="0"/>
          <a:ext cx="0" cy="0"/>
          <a:chOff x="0" y="0"/>
          <a:chExt cx="0" cy="0"/>
        </a:xfrm>
      </p:grpSpPr>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en-GB" noProof="0" smtClean="0"/>
              <a:t>‹#›</a:t>
            </a:fld>
            <a:endParaRPr lang="en-GB" noProof="0"/>
          </a:p>
        </p:txBody>
      </p:sp>
      <p:sp>
        <p:nvSpPr>
          <p:cNvPr id="19" name="Tijdelijke aanduiding voor afbeelding 12">
            <a:extLst>
              <a:ext uri="{FF2B5EF4-FFF2-40B4-BE49-F238E27FC236}">
                <a16:creationId xmlns:a16="http://schemas.microsoft.com/office/drawing/2014/main" id="{27BACDE8-BA7B-4623-B097-3849D34912CC}"/>
              </a:ext>
            </a:extLst>
          </p:cNvPr>
          <p:cNvSpPr>
            <a:spLocks noGrp="1"/>
          </p:cNvSpPr>
          <p:nvPr>
            <p:ph type="pic" sz="quarter" idx="14" hasCustomPrompt="1"/>
          </p:nvPr>
        </p:nvSpPr>
        <p:spPr>
          <a:xfrm>
            <a:off x="777152" y="1453020"/>
            <a:ext cx="2276499" cy="2502754"/>
          </a:xfrm>
          <a:solidFill>
            <a:schemeClr val="bg1">
              <a:lumMod val="95000"/>
            </a:schemeClr>
          </a:solidFill>
        </p:spPr>
        <p:txBody>
          <a:bodyPr tIns="1368000"/>
          <a:lstStyle>
            <a:lvl1pPr marL="0" indent="0" algn="ctr">
              <a:buNone/>
              <a:defRPr sz="1050" b="1" baseline="0"/>
            </a:lvl1pPr>
          </a:lstStyle>
          <a:p>
            <a:r>
              <a:rPr kumimoji="0" lang="en-GB" sz="1100" b="0" i="0" u="none" strike="noStrike" kern="0" cap="none" spc="0" normalizeH="0" baseline="0" noProof="0">
                <a:ln>
                  <a:noFill/>
                </a:ln>
                <a:solidFill>
                  <a:srgbClr val="000000"/>
                </a:solidFill>
                <a:effectLst/>
                <a:uLnTx/>
                <a:uFillTx/>
                <a:latin typeface="+mn-lt"/>
                <a:cs typeface="Segoe UI Light" panose="020B0502040204020203" pitchFamily="34" charset="0"/>
              </a:rPr>
              <a:t>Click on the pictogram to </a:t>
            </a:r>
            <a:br>
              <a:rPr kumimoji="0" lang="en-GB"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GB" sz="1100" b="0" i="0" u="none" strike="noStrike" kern="0" cap="none" spc="0" normalizeH="0" baseline="0" noProof="0">
                <a:ln>
                  <a:noFill/>
                </a:ln>
                <a:solidFill>
                  <a:srgbClr val="000000"/>
                </a:solidFill>
                <a:effectLst/>
                <a:uLnTx/>
                <a:uFillTx/>
                <a:latin typeface="+mn-lt"/>
                <a:cs typeface="Segoe UI Light" panose="020B0502040204020203" pitchFamily="34" charset="0"/>
              </a:rPr>
              <a:t>insert a new image.</a:t>
            </a:r>
            <a:endParaRPr lang="en-GB" noProof="0"/>
          </a:p>
        </p:txBody>
      </p:sp>
      <p:sp>
        <p:nvSpPr>
          <p:cNvPr id="45" name="Tijdelijke aanduiding voor afbeelding 12">
            <a:extLst>
              <a:ext uri="{FF2B5EF4-FFF2-40B4-BE49-F238E27FC236}">
                <a16:creationId xmlns:a16="http://schemas.microsoft.com/office/drawing/2014/main" id="{51FE0753-454B-452F-86DC-C965F0ECC7DE}"/>
              </a:ext>
            </a:extLst>
          </p:cNvPr>
          <p:cNvSpPr>
            <a:spLocks noGrp="1"/>
          </p:cNvSpPr>
          <p:nvPr>
            <p:ph type="pic" sz="quarter" idx="15" hasCustomPrompt="1"/>
          </p:nvPr>
        </p:nvSpPr>
        <p:spPr>
          <a:xfrm>
            <a:off x="3599866" y="1453020"/>
            <a:ext cx="2276499" cy="2502754"/>
          </a:xfrm>
          <a:solidFill>
            <a:schemeClr val="bg1">
              <a:lumMod val="95000"/>
            </a:schemeClr>
          </a:solidFill>
        </p:spPr>
        <p:txBody>
          <a:bodyPr tIns="1368000"/>
          <a:lstStyle>
            <a:lvl1pPr marL="0" indent="0" algn="ctr">
              <a:buNone/>
              <a:defRPr sz="1050" b="1" baseline="0"/>
            </a:lvl1pPr>
          </a:lstStyle>
          <a:p>
            <a:r>
              <a:rPr kumimoji="0" lang="en-GB" sz="1100" b="0" i="0" u="none" strike="noStrike" kern="0" cap="none" spc="0" normalizeH="0" baseline="0" noProof="0">
                <a:ln>
                  <a:noFill/>
                </a:ln>
                <a:solidFill>
                  <a:srgbClr val="000000"/>
                </a:solidFill>
                <a:effectLst/>
                <a:uLnTx/>
                <a:uFillTx/>
                <a:latin typeface="+mn-lt"/>
                <a:cs typeface="Segoe UI Light" panose="020B0502040204020203" pitchFamily="34" charset="0"/>
              </a:rPr>
              <a:t>Click on the pictogram to </a:t>
            </a:r>
            <a:br>
              <a:rPr kumimoji="0" lang="en-GB"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GB" sz="1100" b="0" i="0" u="none" strike="noStrike" kern="0" cap="none" spc="0" normalizeH="0" baseline="0" noProof="0">
                <a:ln>
                  <a:noFill/>
                </a:ln>
                <a:solidFill>
                  <a:srgbClr val="000000"/>
                </a:solidFill>
                <a:effectLst/>
                <a:uLnTx/>
                <a:uFillTx/>
                <a:latin typeface="+mn-lt"/>
                <a:cs typeface="Segoe UI Light" panose="020B0502040204020203" pitchFamily="34" charset="0"/>
              </a:rPr>
              <a:t>insert a new image.</a:t>
            </a:r>
            <a:endParaRPr lang="en-GB" noProof="0"/>
          </a:p>
        </p:txBody>
      </p:sp>
      <p:sp>
        <p:nvSpPr>
          <p:cNvPr id="46" name="Tijdelijke aanduiding voor afbeelding 12">
            <a:extLst>
              <a:ext uri="{FF2B5EF4-FFF2-40B4-BE49-F238E27FC236}">
                <a16:creationId xmlns:a16="http://schemas.microsoft.com/office/drawing/2014/main" id="{CD5DFF9B-A676-4B7E-A0E4-781836790C62}"/>
              </a:ext>
            </a:extLst>
          </p:cNvPr>
          <p:cNvSpPr>
            <a:spLocks noGrp="1"/>
          </p:cNvSpPr>
          <p:nvPr>
            <p:ph type="pic" sz="quarter" idx="16" hasCustomPrompt="1"/>
          </p:nvPr>
        </p:nvSpPr>
        <p:spPr>
          <a:xfrm>
            <a:off x="6429009" y="1453020"/>
            <a:ext cx="2276499" cy="2502754"/>
          </a:xfrm>
          <a:solidFill>
            <a:schemeClr val="bg1">
              <a:lumMod val="95000"/>
            </a:schemeClr>
          </a:solidFill>
        </p:spPr>
        <p:txBody>
          <a:bodyPr tIns="1368000"/>
          <a:lstStyle>
            <a:lvl1pPr marL="0" indent="0" algn="ctr">
              <a:buNone/>
              <a:defRPr sz="1050" b="1" baseline="0"/>
            </a:lvl1pPr>
          </a:lstStyle>
          <a:p>
            <a:r>
              <a:rPr kumimoji="0" lang="en-GB" sz="1100" b="0" i="0" u="none" strike="noStrike" kern="0" cap="none" spc="0" normalizeH="0" baseline="0" noProof="0">
                <a:ln>
                  <a:noFill/>
                </a:ln>
                <a:solidFill>
                  <a:srgbClr val="000000"/>
                </a:solidFill>
                <a:effectLst/>
                <a:uLnTx/>
                <a:uFillTx/>
                <a:latin typeface="+mn-lt"/>
                <a:cs typeface="Segoe UI Light" panose="020B0502040204020203" pitchFamily="34" charset="0"/>
              </a:rPr>
              <a:t>Click on the pictogram to </a:t>
            </a:r>
            <a:br>
              <a:rPr kumimoji="0" lang="en-GB"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GB" sz="1100" b="0" i="0" u="none" strike="noStrike" kern="0" cap="none" spc="0" normalizeH="0" baseline="0" noProof="0">
                <a:ln>
                  <a:noFill/>
                </a:ln>
                <a:solidFill>
                  <a:srgbClr val="000000"/>
                </a:solidFill>
                <a:effectLst/>
                <a:uLnTx/>
                <a:uFillTx/>
                <a:latin typeface="+mn-lt"/>
                <a:cs typeface="Segoe UI Light" panose="020B0502040204020203" pitchFamily="34" charset="0"/>
              </a:rPr>
              <a:t>insert a new image.</a:t>
            </a:r>
            <a:endParaRPr lang="en-GB" noProof="0"/>
          </a:p>
        </p:txBody>
      </p:sp>
      <p:sp>
        <p:nvSpPr>
          <p:cNvPr id="47" name="Tijdelijke aanduiding voor afbeelding 12">
            <a:extLst>
              <a:ext uri="{FF2B5EF4-FFF2-40B4-BE49-F238E27FC236}">
                <a16:creationId xmlns:a16="http://schemas.microsoft.com/office/drawing/2014/main" id="{CC3D2EFE-0CF1-4B85-8D29-ABDBB7514649}"/>
              </a:ext>
            </a:extLst>
          </p:cNvPr>
          <p:cNvSpPr>
            <a:spLocks noGrp="1"/>
          </p:cNvSpPr>
          <p:nvPr>
            <p:ph type="pic" sz="quarter" idx="17" hasCustomPrompt="1"/>
          </p:nvPr>
        </p:nvSpPr>
        <p:spPr>
          <a:xfrm>
            <a:off x="9251316" y="1453020"/>
            <a:ext cx="2276499" cy="2502754"/>
          </a:xfrm>
          <a:solidFill>
            <a:schemeClr val="bg1">
              <a:lumMod val="95000"/>
            </a:schemeClr>
          </a:solidFill>
        </p:spPr>
        <p:txBody>
          <a:bodyPr tIns="1368000"/>
          <a:lstStyle>
            <a:lvl1pPr marL="0" indent="0" algn="ctr">
              <a:buNone/>
              <a:defRPr sz="1050" b="1" baseline="0"/>
            </a:lvl1pPr>
          </a:lstStyle>
          <a:p>
            <a:r>
              <a:rPr kumimoji="0" lang="en-GB" sz="1100" b="0" i="0" u="none" strike="noStrike" kern="0" cap="none" spc="0" normalizeH="0" baseline="0" noProof="0">
                <a:ln>
                  <a:noFill/>
                </a:ln>
                <a:solidFill>
                  <a:srgbClr val="000000"/>
                </a:solidFill>
                <a:effectLst/>
                <a:uLnTx/>
                <a:uFillTx/>
                <a:latin typeface="+mn-lt"/>
                <a:cs typeface="Segoe UI Light" panose="020B0502040204020203" pitchFamily="34" charset="0"/>
              </a:rPr>
              <a:t>Click on the pictogram to </a:t>
            </a:r>
            <a:br>
              <a:rPr kumimoji="0" lang="en-GB"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GB" sz="1100" b="0" i="0" u="none" strike="noStrike" kern="0" cap="none" spc="0" normalizeH="0" baseline="0" noProof="0">
                <a:ln>
                  <a:noFill/>
                </a:ln>
                <a:solidFill>
                  <a:srgbClr val="000000"/>
                </a:solidFill>
                <a:effectLst/>
                <a:uLnTx/>
                <a:uFillTx/>
                <a:latin typeface="+mn-lt"/>
                <a:cs typeface="Segoe UI Light" panose="020B0502040204020203" pitchFamily="34" charset="0"/>
              </a:rPr>
              <a:t>insert a new image.</a:t>
            </a:r>
            <a:endParaRPr lang="en-GB" noProof="0"/>
          </a:p>
        </p:txBody>
      </p:sp>
      <p:sp>
        <p:nvSpPr>
          <p:cNvPr id="9" name="Title 1">
            <a:extLst>
              <a:ext uri="{FF2B5EF4-FFF2-40B4-BE49-F238E27FC236}">
                <a16:creationId xmlns:a16="http://schemas.microsoft.com/office/drawing/2014/main" id="{06DFB77B-0749-C848-81BB-9085DBFF5A62}"/>
              </a:ext>
            </a:extLst>
          </p:cNvPr>
          <p:cNvSpPr>
            <a:spLocks noGrp="1"/>
          </p:cNvSpPr>
          <p:nvPr>
            <p:ph type="title"/>
          </p:nvPr>
        </p:nvSpPr>
        <p:spPr>
          <a:xfrm>
            <a:off x="471600" y="457200"/>
            <a:ext cx="7502400" cy="896938"/>
          </a:xfrm>
        </p:spPr>
        <p:txBody>
          <a:bodyPr/>
          <a:lstStyle/>
          <a:p>
            <a:r>
              <a:rPr lang="en-US" dirty="0"/>
              <a:t>Click to edit Master title style</a:t>
            </a:r>
            <a:endParaRPr lang="en-GB" dirty="0"/>
          </a:p>
        </p:txBody>
      </p:sp>
    </p:spTree>
    <p:extLst>
      <p:ext uri="{BB962C8B-B14F-4D97-AF65-F5344CB8AC3E}">
        <p14:creationId xmlns:p14="http://schemas.microsoft.com/office/powerpoint/2010/main" val="354124052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GRAPH (100%)">
    <p:spTree>
      <p:nvGrpSpPr>
        <p:cNvPr id="1" name=""/>
        <p:cNvGrpSpPr/>
        <p:nvPr/>
      </p:nvGrpSpPr>
      <p:grpSpPr>
        <a:xfrm>
          <a:off x="0" y="0"/>
          <a:ext cx="0" cy="0"/>
          <a:chOff x="0" y="0"/>
          <a:chExt cx="0" cy="0"/>
        </a:xfrm>
      </p:grpSpPr>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en-GB" noProof="0" smtClean="0"/>
              <a:t>‹#›</a:t>
            </a:fld>
            <a:endParaRPr lang="en-GB" noProof="0"/>
          </a:p>
        </p:txBody>
      </p:sp>
      <p:sp>
        <p:nvSpPr>
          <p:cNvPr id="91" name="Tijdelijke aanduiding voor grafiek 7">
            <a:extLst>
              <a:ext uri="{FF2B5EF4-FFF2-40B4-BE49-F238E27FC236}">
                <a16:creationId xmlns:a16="http://schemas.microsoft.com/office/drawing/2014/main" id="{BDED734F-E8EE-4A40-A3B0-CCDA1D102C45}"/>
              </a:ext>
            </a:extLst>
          </p:cNvPr>
          <p:cNvSpPr>
            <a:spLocks noGrp="1"/>
          </p:cNvSpPr>
          <p:nvPr>
            <p:ph type="chart" sz="quarter" idx="14" hasCustomPrompt="1"/>
          </p:nvPr>
        </p:nvSpPr>
        <p:spPr>
          <a:xfrm>
            <a:off x="783771" y="1117600"/>
            <a:ext cx="10755086" cy="5210629"/>
          </a:xfrm>
          <a:solidFill>
            <a:schemeClr val="bg1">
              <a:lumMod val="95000"/>
            </a:schemeClr>
          </a:solidFill>
        </p:spPr>
        <p:txBody>
          <a:bodyPr tIns="1620000"/>
          <a:lstStyle>
            <a:lvl1pPr marL="0" indent="0" algn="ctr">
              <a:buNone/>
              <a:defRPr sz="1050" b="1" baseline="0"/>
            </a:lvl1pPr>
          </a:lstStyle>
          <a:p>
            <a:r>
              <a:rPr kumimoji="0" lang="en-GB" sz="1100" b="0" i="0" u="none" strike="noStrike" kern="0" cap="none" spc="0" normalizeH="0" baseline="0" noProof="0">
                <a:ln>
                  <a:noFill/>
                </a:ln>
                <a:solidFill>
                  <a:srgbClr val="000000"/>
                </a:solidFill>
                <a:effectLst/>
                <a:uLnTx/>
                <a:uFillTx/>
                <a:latin typeface="+mn-lt"/>
                <a:cs typeface="Segoe UI Light" panose="020B0502040204020203" pitchFamily="34" charset="0"/>
              </a:rPr>
              <a:t>Click on the pictogram to insert a new chart.</a:t>
            </a:r>
            <a:endParaRPr lang="en-GB" noProof="0"/>
          </a:p>
        </p:txBody>
      </p:sp>
      <p:sp>
        <p:nvSpPr>
          <p:cNvPr id="3" name="Titel 2">
            <a:extLst>
              <a:ext uri="{FF2B5EF4-FFF2-40B4-BE49-F238E27FC236}">
                <a16:creationId xmlns:a16="http://schemas.microsoft.com/office/drawing/2014/main" id="{E9502EA9-5698-4F43-B929-4A916AC33511}"/>
              </a:ext>
            </a:extLst>
          </p:cNvPr>
          <p:cNvSpPr>
            <a:spLocks noGrp="1"/>
          </p:cNvSpPr>
          <p:nvPr>
            <p:ph type="title" hasCustomPrompt="1"/>
          </p:nvPr>
        </p:nvSpPr>
        <p:spPr/>
        <p:txBody>
          <a:bodyPr/>
          <a:lstStyle>
            <a:lvl1pPr>
              <a:defRPr/>
            </a:lvl1pPr>
          </a:lstStyle>
          <a:p>
            <a:r>
              <a:rPr lang="en-GB" noProof="0"/>
              <a:t>Click to add a title</a:t>
            </a:r>
          </a:p>
        </p:txBody>
      </p:sp>
    </p:spTree>
    <p:extLst>
      <p:ext uri="{BB962C8B-B14F-4D97-AF65-F5344CB8AC3E}">
        <p14:creationId xmlns:p14="http://schemas.microsoft.com/office/powerpoint/2010/main" val="258463135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MOCKUP COMPUTER">
    <p:spTree>
      <p:nvGrpSpPr>
        <p:cNvPr id="1" name=""/>
        <p:cNvGrpSpPr/>
        <p:nvPr/>
      </p:nvGrpSpPr>
      <p:grpSpPr>
        <a:xfrm>
          <a:off x="0" y="0"/>
          <a:ext cx="0" cy="0"/>
          <a:chOff x="0" y="0"/>
          <a:chExt cx="0" cy="0"/>
        </a:xfrm>
      </p:grpSpPr>
      <p:pic>
        <p:nvPicPr>
          <p:cNvPr id="52" name="Afbeelding 51">
            <a:extLst>
              <a:ext uri="{FF2B5EF4-FFF2-40B4-BE49-F238E27FC236}">
                <a16:creationId xmlns:a16="http://schemas.microsoft.com/office/drawing/2014/main" id="{B9099373-6768-4E01-BF23-39BC400F8F6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620780" y="895744"/>
            <a:ext cx="6894286" cy="5720566"/>
          </a:xfrm>
          <a:prstGeom prst="rect">
            <a:avLst/>
          </a:prstGeom>
        </p:spPr>
      </p:pic>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en-GB" noProof="0" smtClean="0"/>
              <a:t>‹#›</a:t>
            </a:fld>
            <a:endParaRPr lang="en-GB" noProof="0"/>
          </a:p>
        </p:txBody>
      </p:sp>
      <p:sp>
        <p:nvSpPr>
          <p:cNvPr id="3" name="Titel 2">
            <a:extLst>
              <a:ext uri="{FF2B5EF4-FFF2-40B4-BE49-F238E27FC236}">
                <a16:creationId xmlns:a16="http://schemas.microsoft.com/office/drawing/2014/main" id="{E9502EA9-5698-4F43-B929-4A916AC33511}"/>
              </a:ext>
            </a:extLst>
          </p:cNvPr>
          <p:cNvSpPr>
            <a:spLocks noGrp="1"/>
          </p:cNvSpPr>
          <p:nvPr>
            <p:ph type="title" hasCustomPrompt="1"/>
          </p:nvPr>
        </p:nvSpPr>
        <p:spPr/>
        <p:txBody>
          <a:bodyPr/>
          <a:lstStyle>
            <a:lvl1pPr>
              <a:defRPr/>
            </a:lvl1pPr>
          </a:lstStyle>
          <a:p>
            <a:r>
              <a:rPr lang="en-GB" noProof="0"/>
              <a:t>Click to add a title</a:t>
            </a:r>
          </a:p>
        </p:txBody>
      </p:sp>
      <p:sp>
        <p:nvSpPr>
          <p:cNvPr id="70" name="Tijdelijke aanduiding voor afbeelding 12">
            <a:extLst>
              <a:ext uri="{FF2B5EF4-FFF2-40B4-BE49-F238E27FC236}">
                <a16:creationId xmlns:a16="http://schemas.microsoft.com/office/drawing/2014/main" id="{74672FE6-421D-4BD6-9E7A-A8657605619B}"/>
              </a:ext>
            </a:extLst>
          </p:cNvPr>
          <p:cNvSpPr>
            <a:spLocks noGrp="1"/>
          </p:cNvSpPr>
          <p:nvPr>
            <p:ph type="pic" sz="quarter" idx="14" hasCustomPrompt="1"/>
          </p:nvPr>
        </p:nvSpPr>
        <p:spPr>
          <a:xfrm>
            <a:off x="3050680" y="1362808"/>
            <a:ext cx="5987561" cy="3446584"/>
          </a:xfrm>
          <a:prstGeom prst="roundRect">
            <a:avLst>
              <a:gd name="adj" fmla="val 1871"/>
            </a:avLst>
          </a:prstGeom>
          <a:solidFill>
            <a:schemeClr val="bg1">
              <a:lumMod val="95000"/>
            </a:schemeClr>
          </a:solidFill>
          <a:ln>
            <a:noFill/>
          </a:ln>
        </p:spPr>
        <p:txBody>
          <a:bodyPr tIns="2232000"/>
          <a:lstStyle>
            <a:lvl1pPr marL="0" indent="0" algn="ctr">
              <a:buNone/>
              <a:defRPr sz="1050" b="1" baseline="0"/>
            </a:lvl1pPr>
          </a:lstStyle>
          <a:p>
            <a:r>
              <a:rPr kumimoji="0" lang="en-GB" sz="1100" b="0" i="0" u="none" strike="noStrike" kern="0" cap="none" spc="0" normalizeH="0" baseline="0" noProof="0">
                <a:ln>
                  <a:noFill/>
                </a:ln>
                <a:solidFill>
                  <a:srgbClr val="000000"/>
                </a:solidFill>
                <a:effectLst/>
                <a:uLnTx/>
                <a:uFillTx/>
                <a:latin typeface="+mn-lt"/>
                <a:cs typeface="Segoe UI Light" panose="020B0502040204020203" pitchFamily="34" charset="0"/>
              </a:rPr>
              <a:t>Click on the pictogram </a:t>
            </a:r>
            <a:br>
              <a:rPr kumimoji="0" lang="en-GB"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GB" sz="1100" b="0" i="0" u="none" strike="noStrike" kern="0" cap="none" spc="0" normalizeH="0" baseline="0" noProof="0">
                <a:ln>
                  <a:noFill/>
                </a:ln>
                <a:solidFill>
                  <a:srgbClr val="000000"/>
                </a:solidFill>
                <a:effectLst/>
                <a:uLnTx/>
                <a:uFillTx/>
                <a:latin typeface="+mn-lt"/>
                <a:cs typeface="Segoe UI Light" panose="020B0502040204020203" pitchFamily="34" charset="0"/>
              </a:rPr>
              <a:t>to insert a new image.</a:t>
            </a:r>
            <a:endParaRPr lang="en-GB" noProof="0"/>
          </a:p>
        </p:txBody>
      </p:sp>
    </p:spTree>
    <p:extLst>
      <p:ext uri="{BB962C8B-B14F-4D97-AF65-F5344CB8AC3E}">
        <p14:creationId xmlns:p14="http://schemas.microsoft.com/office/powerpoint/2010/main" val="96939243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MOCKUP TABLET">
    <p:spTree>
      <p:nvGrpSpPr>
        <p:cNvPr id="1" name=""/>
        <p:cNvGrpSpPr/>
        <p:nvPr/>
      </p:nvGrpSpPr>
      <p:grpSpPr>
        <a:xfrm>
          <a:off x="0" y="0"/>
          <a:ext cx="0" cy="0"/>
          <a:chOff x="0" y="0"/>
          <a:chExt cx="0" cy="0"/>
        </a:xfrm>
      </p:grpSpPr>
      <p:grpSp>
        <p:nvGrpSpPr>
          <p:cNvPr id="72" name="Groep 71">
            <a:extLst>
              <a:ext uri="{FF2B5EF4-FFF2-40B4-BE49-F238E27FC236}">
                <a16:creationId xmlns:a16="http://schemas.microsoft.com/office/drawing/2014/main" id="{E3206D4F-872A-4C8C-A879-9645D24EC58D}"/>
              </a:ext>
            </a:extLst>
          </p:cNvPr>
          <p:cNvGrpSpPr/>
          <p:nvPr userDrawn="1"/>
        </p:nvGrpSpPr>
        <p:grpSpPr>
          <a:xfrm>
            <a:off x="2585551" y="1057272"/>
            <a:ext cx="7020899" cy="4951641"/>
            <a:chOff x="2909296" y="623354"/>
            <a:chExt cx="7636150" cy="5385560"/>
          </a:xfrm>
        </p:grpSpPr>
        <p:pic>
          <p:nvPicPr>
            <p:cNvPr id="73" name="Picture 2" descr="Afbeeldingsresultaat voor IPAD mock up">
              <a:extLst>
                <a:ext uri="{FF2B5EF4-FFF2-40B4-BE49-F238E27FC236}">
                  <a16:creationId xmlns:a16="http://schemas.microsoft.com/office/drawing/2014/main" id="{D5E62AFE-A2DF-4CE1-9DF0-6DF5FE427E9B}"/>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2909296" y="623354"/>
              <a:ext cx="7636150" cy="5385560"/>
            </a:xfrm>
            <a:prstGeom prst="rect">
              <a:avLst/>
            </a:prstGeom>
            <a:noFill/>
            <a:extLst>
              <a:ext uri="{909E8E84-426E-40DD-AFC4-6F175D3DCCD1}">
                <a14:hiddenFill xmlns:a14="http://schemas.microsoft.com/office/drawing/2010/main">
                  <a:solidFill>
                    <a:srgbClr val="FFFFFF"/>
                  </a:solidFill>
                </a14:hiddenFill>
              </a:ext>
            </a:extLst>
          </p:spPr>
        </p:pic>
        <p:sp>
          <p:nvSpPr>
            <p:cNvPr id="74" name="Afgeronde rechthoek 17">
              <a:extLst>
                <a:ext uri="{FF2B5EF4-FFF2-40B4-BE49-F238E27FC236}">
                  <a16:creationId xmlns:a16="http://schemas.microsoft.com/office/drawing/2014/main" id="{40440F65-87D4-47C7-A3A0-3404536F4809}"/>
                </a:ext>
              </a:extLst>
            </p:cNvPr>
            <p:cNvSpPr/>
            <p:nvPr/>
          </p:nvSpPr>
          <p:spPr>
            <a:xfrm>
              <a:off x="3597866" y="964737"/>
              <a:ext cx="6270034" cy="4708755"/>
            </a:xfrm>
            <a:prstGeom prst="roundRect">
              <a:avLst>
                <a:gd name="adj" fmla="val 897"/>
              </a:avLst>
            </a:prstGeom>
            <a:solidFill>
              <a:srgbClr val="F6F6F6"/>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gr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en-GB" noProof="0" smtClean="0"/>
              <a:t>‹#›</a:t>
            </a:fld>
            <a:endParaRPr lang="en-GB" noProof="0"/>
          </a:p>
        </p:txBody>
      </p:sp>
      <p:sp>
        <p:nvSpPr>
          <p:cNvPr id="3" name="Titel 2">
            <a:extLst>
              <a:ext uri="{FF2B5EF4-FFF2-40B4-BE49-F238E27FC236}">
                <a16:creationId xmlns:a16="http://schemas.microsoft.com/office/drawing/2014/main" id="{E9502EA9-5698-4F43-B929-4A916AC33511}"/>
              </a:ext>
            </a:extLst>
          </p:cNvPr>
          <p:cNvSpPr>
            <a:spLocks noGrp="1"/>
          </p:cNvSpPr>
          <p:nvPr>
            <p:ph type="title" hasCustomPrompt="1"/>
          </p:nvPr>
        </p:nvSpPr>
        <p:spPr/>
        <p:txBody>
          <a:bodyPr/>
          <a:lstStyle>
            <a:lvl1pPr>
              <a:defRPr/>
            </a:lvl1pPr>
          </a:lstStyle>
          <a:p>
            <a:r>
              <a:rPr lang="en-GB" noProof="0"/>
              <a:t>Click to add a title</a:t>
            </a:r>
          </a:p>
        </p:txBody>
      </p:sp>
      <p:sp>
        <p:nvSpPr>
          <p:cNvPr id="70" name="Tijdelijke aanduiding voor afbeelding 12">
            <a:extLst>
              <a:ext uri="{FF2B5EF4-FFF2-40B4-BE49-F238E27FC236}">
                <a16:creationId xmlns:a16="http://schemas.microsoft.com/office/drawing/2014/main" id="{74672FE6-421D-4BD6-9E7A-A8657605619B}"/>
              </a:ext>
            </a:extLst>
          </p:cNvPr>
          <p:cNvSpPr>
            <a:spLocks noGrp="1"/>
          </p:cNvSpPr>
          <p:nvPr>
            <p:ph type="pic" sz="quarter" idx="14" hasCustomPrompt="1"/>
          </p:nvPr>
        </p:nvSpPr>
        <p:spPr>
          <a:xfrm>
            <a:off x="3202042" y="1362807"/>
            <a:ext cx="5832366" cy="4371787"/>
          </a:xfrm>
          <a:prstGeom prst="roundRect">
            <a:avLst>
              <a:gd name="adj" fmla="val 1871"/>
            </a:avLst>
          </a:prstGeom>
          <a:solidFill>
            <a:schemeClr val="bg1">
              <a:lumMod val="95000"/>
            </a:schemeClr>
          </a:solidFill>
          <a:ln>
            <a:noFill/>
          </a:ln>
        </p:spPr>
        <p:txBody>
          <a:bodyPr tIns="2232000"/>
          <a:lstStyle>
            <a:lvl1pPr marL="0" indent="0" algn="ctr">
              <a:buNone/>
              <a:defRPr sz="1050" b="1" baseline="0"/>
            </a:lvl1pPr>
          </a:lstStyle>
          <a:p>
            <a:r>
              <a:rPr kumimoji="0" lang="en-GB" sz="1100" b="0" i="0" u="none" strike="noStrike" kern="0" cap="none" spc="0" normalizeH="0" baseline="0" noProof="0">
                <a:ln>
                  <a:noFill/>
                </a:ln>
                <a:solidFill>
                  <a:srgbClr val="000000"/>
                </a:solidFill>
                <a:effectLst/>
                <a:uLnTx/>
                <a:uFillTx/>
                <a:latin typeface="+mn-lt"/>
                <a:cs typeface="Segoe UI Light" panose="020B0502040204020203" pitchFamily="34" charset="0"/>
              </a:rPr>
              <a:t>Click on the pictogram </a:t>
            </a:r>
            <a:br>
              <a:rPr kumimoji="0" lang="en-GB"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GB" sz="1100" b="0" i="0" u="none" strike="noStrike" kern="0" cap="none" spc="0" normalizeH="0" baseline="0" noProof="0">
                <a:ln>
                  <a:noFill/>
                </a:ln>
                <a:solidFill>
                  <a:srgbClr val="000000"/>
                </a:solidFill>
                <a:effectLst/>
                <a:uLnTx/>
                <a:uFillTx/>
                <a:latin typeface="+mn-lt"/>
                <a:cs typeface="Segoe UI Light" panose="020B0502040204020203" pitchFamily="34" charset="0"/>
              </a:rPr>
              <a:t>to insert a new image.</a:t>
            </a:r>
            <a:endParaRPr lang="en-GB" noProof="0"/>
          </a:p>
        </p:txBody>
      </p:sp>
    </p:spTree>
    <p:extLst>
      <p:ext uri="{BB962C8B-B14F-4D97-AF65-F5344CB8AC3E}">
        <p14:creationId xmlns:p14="http://schemas.microsoft.com/office/powerpoint/2010/main" val="333053215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One cha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489BAD-C434-4078-BE58-E00F617CC117}"/>
              </a:ext>
            </a:extLst>
          </p:cNvPr>
          <p:cNvSpPr>
            <a:spLocks noGrp="1"/>
          </p:cNvSpPr>
          <p:nvPr>
            <p:ph type="title"/>
          </p:nvPr>
        </p:nvSpPr>
        <p:spPr/>
        <p:txBody>
          <a:bodyPr/>
          <a:lstStyle/>
          <a:p>
            <a:r>
              <a:rPr lang="en-US"/>
              <a:t>Click to edit Master title style</a:t>
            </a:r>
            <a:endParaRPr lang="en-GB"/>
          </a:p>
        </p:txBody>
      </p:sp>
      <p:sp>
        <p:nvSpPr>
          <p:cNvPr id="5" name="Slide Number Placeholder 4">
            <a:extLst>
              <a:ext uri="{FF2B5EF4-FFF2-40B4-BE49-F238E27FC236}">
                <a16:creationId xmlns:a16="http://schemas.microsoft.com/office/drawing/2014/main" id="{DA0B89E5-F2CC-40AF-A89A-1135461CCB5A}"/>
              </a:ext>
            </a:extLst>
          </p:cNvPr>
          <p:cNvSpPr>
            <a:spLocks noGrp="1"/>
          </p:cNvSpPr>
          <p:nvPr>
            <p:ph type="sldNum" sz="quarter" idx="12"/>
          </p:nvPr>
        </p:nvSpPr>
        <p:spPr>
          <a:xfrm>
            <a:off x="11278800" y="6400800"/>
            <a:ext cx="442800" cy="226800"/>
          </a:xfrm>
          <a:prstGeom prst="rect">
            <a:avLst/>
          </a:prstGeom>
        </p:spPr>
        <p:txBody>
          <a:bodyPr/>
          <a:lstStyle/>
          <a:p>
            <a:pPr algn="r">
              <a:lnSpc>
                <a:spcPts val="970"/>
              </a:lnSpc>
            </a:pPr>
            <a:fld id="{0B868178-02AE-42FC-958D-6B8F13B60175}" type="slidenum">
              <a:rPr lang="en-GB" smtClean="0"/>
              <a:pPr algn="r">
                <a:lnSpc>
                  <a:spcPts val="970"/>
                </a:lnSpc>
              </a:pPr>
              <a:t>‹#›</a:t>
            </a:fld>
            <a:endParaRPr lang="en-GB" sz="800" noProof="0">
              <a:solidFill>
                <a:schemeClr val="bg1"/>
              </a:solidFill>
            </a:endParaRPr>
          </a:p>
        </p:txBody>
      </p:sp>
      <p:sp>
        <p:nvSpPr>
          <p:cNvPr id="9" name="Chart Placeholder 8">
            <a:extLst>
              <a:ext uri="{FF2B5EF4-FFF2-40B4-BE49-F238E27FC236}">
                <a16:creationId xmlns:a16="http://schemas.microsoft.com/office/drawing/2014/main" id="{D783B02A-9565-4B08-A2A1-8C33C7BC6435}"/>
              </a:ext>
            </a:extLst>
          </p:cNvPr>
          <p:cNvSpPr>
            <a:spLocks noGrp="1"/>
          </p:cNvSpPr>
          <p:nvPr>
            <p:ph type="chart" sz="quarter" idx="13"/>
          </p:nvPr>
        </p:nvSpPr>
        <p:spPr>
          <a:xfrm>
            <a:off x="468000" y="1354138"/>
            <a:ext cx="11257200" cy="4824000"/>
          </a:xfrm>
        </p:spPr>
        <p:txBody>
          <a:bodyPr/>
          <a:lstStyle/>
          <a:p>
            <a:endParaRPr lang="en-GB" dirty="0"/>
          </a:p>
        </p:txBody>
      </p:sp>
    </p:spTree>
    <p:extLst>
      <p:ext uri="{BB962C8B-B14F-4D97-AF65-F5344CB8AC3E}">
        <p14:creationId xmlns:p14="http://schemas.microsoft.com/office/powerpoint/2010/main" val="199253752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en-US" noProof="0" smtClean="0"/>
              <a:t>‹#›</a:t>
            </a:fld>
            <a:endParaRPr lang="en-US" noProof="0"/>
          </a:p>
        </p:txBody>
      </p:sp>
      <p:sp>
        <p:nvSpPr>
          <p:cNvPr id="8" name="Title 1">
            <a:extLst>
              <a:ext uri="{FF2B5EF4-FFF2-40B4-BE49-F238E27FC236}">
                <a16:creationId xmlns:a16="http://schemas.microsoft.com/office/drawing/2014/main" id="{8DCFA21B-11CF-E64F-AE14-9C6F2CC4D9F5}"/>
              </a:ext>
            </a:extLst>
          </p:cNvPr>
          <p:cNvSpPr>
            <a:spLocks noGrp="1"/>
          </p:cNvSpPr>
          <p:nvPr>
            <p:ph type="title"/>
          </p:nvPr>
        </p:nvSpPr>
        <p:spPr>
          <a:xfrm>
            <a:off x="471600" y="457200"/>
            <a:ext cx="7502400" cy="896938"/>
          </a:xfrm>
        </p:spPr>
        <p:txBody>
          <a:bodyPr/>
          <a:lstStyle/>
          <a:p>
            <a:r>
              <a:rPr lang="en-US" dirty="0"/>
              <a:t>Click to edit Master title style</a:t>
            </a:r>
            <a:endParaRPr lang="en-GB" dirty="0"/>
          </a:p>
        </p:txBody>
      </p:sp>
    </p:spTree>
    <p:extLst>
      <p:ext uri="{BB962C8B-B14F-4D97-AF65-F5344CB8AC3E}">
        <p14:creationId xmlns:p14="http://schemas.microsoft.com/office/powerpoint/2010/main" val="1385397522"/>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wo char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489BAD-C434-4078-BE58-E00F617CC117}"/>
              </a:ext>
            </a:extLst>
          </p:cNvPr>
          <p:cNvSpPr>
            <a:spLocks noGrp="1"/>
          </p:cNvSpPr>
          <p:nvPr>
            <p:ph type="title"/>
          </p:nvPr>
        </p:nvSpPr>
        <p:spPr/>
        <p:txBody>
          <a:bodyPr/>
          <a:lstStyle/>
          <a:p>
            <a:r>
              <a:rPr lang="en-US"/>
              <a:t>Click to edit Master title style</a:t>
            </a:r>
            <a:endParaRPr lang="en-GB"/>
          </a:p>
        </p:txBody>
      </p:sp>
      <p:sp>
        <p:nvSpPr>
          <p:cNvPr id="5" name="Slide Number Placeholder 4">
            <a:extLst>
              <a:ext uri="{FF2B5EF4-FFF2-40B4-BE49-F238E27FC236}">
                <a16:creationId xmlns:a16="http://schemas.microsoft.com/office/drawing/2014/main" id="{DA0B89E5-F2CC-40AF-A89A-1135461CCB5A}"/>
              </a:ext>
            </a:extLst>
          </p:cNvPr>
          <p:cNvSpPr>
            <a:spLocks noGrp="1"/>
          </p:cNvSpPr>
          <p:nvPr>
            <p:ph type="sldNum" sz="quarter" idx="12"/>
          </p:nvPr>
        </p:nvSpPr>
        <p:spPr>
          <a:xfrm>
            <a:off x="11278800" y="6400800"/>
            <a:ext cx="442800" cy="226800"/>
          </a:xfrm>
          <a:prstGeom prst="rect">
            <a:avLst/>
          </a:prstGeom>
        </p:spPr>
        <p:txBody>
          <a:bodyPr/>
          <a:lstStyle/>
          <a:p>
            <a:pPr algn="r">
              <a:lnSpc>
                <a:spcPts val="970"/>
              </a:lnSpc>
            </a:pPr>
            <a:fld id="{0B868178-02AE-42FC-958D-6B8F13B60175}" type="slidenum">
              <a:rPr lang="en-GB" smtClean="0"/>
              <a:pPr algn="r">
                <a:lnSpc>
                  <a:spcPts val="970"/>
                </a:lnSpc>
              </a:pPr>
              <a:t>‹#›</a:t>
            </a:fld>
            <a:endParaRPr lang="en-GB" sz="800" noProof="0">
              <a:solidFill>
                <a:schemeClr val="bg1"/>
              </a:solidFill>
            </a:endParaRPr>
          </a:p>
        </p:txBody>
      </p:sp>
      <p:sp>
        <p:nvSpPr>
          <p:cNvPr id="9" name="Chart Placeholder 8">
            <a:extLst>
              <a:ext uri="{FF2B5EF4-FFF2-40B4-BE49-F238E27FC236}">
                <a16:creationId xmlns:a16="http://schemas.microsoft.com/office/drawing/2014/main" id="{D783B02A-9565-4B08-A2A1-8C33C7BC6435}"/>
              </a:ext>
            </a:extLst>
          </p:cNvPr>
          <p:cNvSpPr>
            <a:spLocks noGrp="1"/>
          </p:cNvSpPr>
          <p:nvPr>
            <p:ph type="chart" sz="quarter" idx="13"/>
          </p:nvPr>
        </p:nvSpPr>
        <p:spPr>
          <a:xfrm>
            <a:off x="471601" y="1354139"/>
            <a:ext cx="5158800" cy="4824000"/>
          </a:xfrm>
        </p:spPr>
        <p:txBody>
          <a:bodyPr/>
          <a:lstStyle/>
          <a:p>
            <a:endParaRPr lang="en-GB"/>
          </a:p>
        </p:txBody>
      </p:sp>
      <p:sp>
        <p:nvSpPr>
          <p:cNvPr id="7" name="Chart Placeholder 6">
            <a:extLst>
              <a:ext uri="{FF2B5EF4-FFF2-40B4-BE49-F238E27FC236}">
                <a16:creationId xmlns:a16="http://schemas.microsoft.com/office/drawing/2014/main" id="{3D260D16-6A6A-4F11-89B0-158FF91D3C6F}"/>
              </a:ext>
            </a:extLst>
          </p:cNvPr>
          <p:cNvSpPr>
            <a:spLocks noGrp="1"/>
          </p:cNvSpPr>
          <p:nvPr>
            <p:ph type="chart" sz="quarter" idx="14"/>
          </p:nvPr>
        </p:nvSpPr>
        <p:spPr>
          <a:xfrm>
            <a:off x="6566400" y="1354137"/>
            <a:ext cx="5158800" cy="4824000"/>
          </a:xfrm>
        </p:spPr>
        <p:txBody>
          <a:bodyPr/>
          <a:lstStyle/>
          <a:p>
            <a:endParaRPr lang="en-GB"/>
          </a:p>
        </p:txBody>
      </p:sp>
    </p:spTree>
    <p:extLst>
      <p:ext uri="{BB962C8B-B14F-4D97-AF65-F5344CB8AC3E}">
        <p14:creationId xmlns:p14="http://schemas.microsoft.com/office/powerpoint/2010/main" val="398741247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Thank You Slide">
    <p:spTree>
      <p:nvGrpSpPr>
        <p:cNvPr id="1" name=""/>
        <p:cNvGrpSpPr/>
        <p:nvPr/>
      </p:nvGrpSpPr>
      <p:grpSpPr>
        <a:xfrm>
          <a:off x="0" y="0"/>
          <a:ext cx="0" cy="0"/>
          <a:chOff x="0" y="0"/>
          <a:chExt cx="0" cy="0"/>
        </a:xfrm>
      </p:grpSpPr>
      <p:sp>
        <p:nvSpPr>
          <p:cNvPr id="30" name="TextBox 29">
            <a:extLst>
              <a:ext uri="{FF2B5EF4-FFF2-40B4-BE49-F238E27FC236}">
                <a16:creationId xmlns:a16="http://schemas.microsoft.com/office/drawing/2014/main" id="{468EAFAF-8E8A-49AA-9EB1-9ACAF9DC90B9}"/>
              </a:ext>
            </a:extLst>
          </p:cNvPr>
          <p:cNvSpPr txBox="1"/>
          <p:nvPr userDrawn="1"/>
        </p:nvSpPr>
        <p:spPr>
          <a:xfrm>
            <a:off x="1343026" y="2285999"/>
            <a:ext cx="7200900" cy="1037896"/>
          </a:xfrm>
          <a:prstGeom prst="rect">
            <a:avLst/>
          </a:prstGeom>
        </p:spPr>
        <p:txBody>
          <a:bodyPr vert="horz" lIns="0" tIns="0" rIns="0" bIns="0" rtlCol="0" anchor="t" anchorCtr="0">
            <a:normAutofit/>
          </a:bodyPr>
          <a:lstStyle>
            <a:lvl1pPr>
              <a:lnSpc>
                <a:spcPts val="6630"/>
              </a:lnSpc>
              <a:spcBef>
                <a:spcPct val="0"/>
              </a:spcBef>
              <a:buNone/>
              <a:defRPr sz="6630">
                <a:solidFill>
                  <a:schemeClr val="accent2"/>
                </a:solidFill>
                <a:latin typeface="+mj-lt"/>
                <a:ea typeface="+mj-ea"/>
                <a:cs typeface="+mj-cs"/>
              </a:defRPr>
            </a:lvl1pPr>
          </a:lstStyle>
          <a:p>
            <a:pPr lvl="0"/>
            <a:r>
              <a:rPr lang="en-US" noProof="0" dirty="0"/>
              <a:t>Thank you</a:t>
            </a:r>
            <a:endParaRPr lang="en-GB" dirty="0"/>
          </a:p>
        </p:txBody>
      </p:sp>
      <p:sp>
        <p:nvSpPr>
          <p:cNvPr id="3" name="Subtitle 2"/>
          <p:cNvSpPr>
            <a:spLocks noGrp="1"/>
          </p:cNvSpPr>
          <p:nvPr>
            <p:ph type="subTitle" idx="1"/>
          </p:nvPr>
        </p:nvSpPr>
        <p:spPr>
          <a:xfrm>
            <a:off x="1343026" y="3323896"/>
            <a:ext cx="7200900" cy="1090761"/>
          </a:xfrm>
        </p:spPr>
        <p:txBody>
          <a:bodyPr/>
          <a:lstStyle>
            <a:lvl1pPr marL="0" indent="0" algn="l">
              <a:lnSpc>
                <a:spcPct val="100000"/>
              </a:lnSpc>
              <a:spcBef>
                <a:spcPts val="0"/>
              </a:spcBef>
              <a:spcAft>
                <a:spcPts val="0"/>
              </a:spcAft>
              <a:buNone/>
              <a:defRPr sz="141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Click to edit Master subtitle style</a:t>
            </a:r>
            <a:endParaRPr lang="en-GB" noProof="0" dirty="0"/>
          </a:p>
        </p:txBody>
      </p:sp>
      <p:pic>
        <p:nvPicPr>
          <p:cNvPr id="8" name="Picture 7">
            <a:extLst>
              <a:ext uri="{FF2B5EF4-FFF2-40B4-BE49-F238E27FC236}">
                <a16:creationId xmlns:a16="http://schemas.microsoft.com/office/drawing/2014/main" id="{DEDB3570-FCFE-4D37-81AF-ECB153EFD8D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71600" y="457200"/>
            <a:ext cx="1404000" cy="552898"/>
          </a:xfrm>
          <a:prstGeom prst="rect">
            <a:avLst/>
          </a:prstGeom>
        </p:spPr>
      </p:pic>
      <p:sp>
        <p:nvSpPr>
          <p:cNvPr id="4" name="TextBox 3">
            <a:extLst>
              <a:ext uri="{FF2B5EF4-FFF2-40B4-BE49-F238E27FC236}">
                <a16:creationId xmlns:a16="http://schemas.microsoft.com/office/drawing/2014/main" id="{0632D508-3EF1-9A47-B376-A3D28FC8C640}"/>
              </a:ext>
            </a:extLst>
          </p:cNvPr>
          <p:cNvSpPr txBox="1"/>
          <p:nvPr userDrawn="1"/>
        </p:nvSpPr>
        <p:spPr>
          <a:xfrm>
            <a:off x="5200650" y="5829300"/>
            <a:ext cx="0" cy="0"/>
          </a:xfrm>
          <a:prstGeom prst="rect">
            <a:avLst/>
          </a:prstGeom>
          <a:noFill/>
        </p:spPr>
        <p:txBody>
          <a:bodyPr wrap="none" lIns="0" tIns="0" rIns="0" bIns="0" rtlCol="0">
            <a:noAutofit/>
          </a:bodyPr>
          <a:lstStyle/>
          <a:p>
            <a:pPr algn="l">
              <a:lnSpc>
                <a:spcPts val="2290"/>
              </a:lnSpc>
            </a:pPr>
            <a:endParaRPr sz="1940" dirty="0" err="1">
              <a:solidFill>
                <a:schemeClr val="tx2"/>
              </a:solidFill>
            </a:endParaRPr>
          </a:p>
        </p:txBody>
      </p:sp>
      <p:grpSp>
        <p:nvGrpSpPr>
          <p:cNvPr id="18" name="Group 17">
            <a:extLst>
              <a:ext uri="{FF2B5EF4-FFF2-40B4-BE49-F238E27FC236}">
                <a16:creationId xmlns:a16="http://schemas.microsoft.com/office/drawing/2014/main" id="{50DF25AC-AA14-C740-85A0-78503346E043}"/>
              </a:ext>
            </a:extLst>
          </p:cNvPr>
          <p:cNvGrpSpPr/>
          <p:nvPr userDrawn="1"/>
        </p:nvGrpSpPr>
        <p:grpSpPr>
          <a:xfrm>
            <a:off x="0" y="0"/>
            <a:ext cx="12227595" cy="6858001"/>
            <a:chOff x="1260475" y="3576638"/>
            <a:chExt cx="1030288" cy="577850"/>
          </a:xfrm>
        </p:grpSpPr>
        <p:sp>
          <p:nvSpPr>
            <p:cNvPr id="19" name="Freeform 55">
              <a:extLst>
                <a:ext uri="{FF2B5EF4-FFF2-40B4-BE49-F238E27FC236}">
                  <a16:creationId xmlns:a16="http://schemas.microsoft.com/office/drawing/2014/main" id="{F8362EB4-F4F1-7E4A-9408-7CF483ED31DC}"/>
                </a:ext>
              </a:extLst>
            </p:cNvPr>
            <p:cNvSpPr>
              <a:spLocks noChangeArrowheads="1"/>
            </p:cNvSpPr>
            <p:nvPr/>
          </p:nvSpPr>
          <p:spPr bwMode="auto">
            <a:xfrm>
              <a:off x="1994579" y="3723597"/>
              <a:ext cx="163512" cy="169862"/>
            </a:xfrm>
            <a:custGeom>
              <a:avLst/>
              <a:gdLst>
                <a:gd name="T0" fmla="*/ 355 w 456"/>
                <a:gd name="T1" fmla="*/ 409 h 470"/>
                <a:gd name="T2" fmla="*/ 455 w 456"/>
                <a:gd name="T3" fmla="*/ 279 h 470"/>
                <a:gd name="T4" fmla="*/ 324 w 456"/>
                <a:gd name="T5" fmla="*/ 178 h 470"/>
                <a:gd name="T6" fmla="*/ 303 w 456"/>
                <a:gd name="T7" fmla="*/ 14 h 470"/>
                <a:gd name="T8" fmla="*/ 139 w 456"/>
                <a:gd name="T9" fmla="*/ 36 h 470"/>
                <a:gd name="T10" fmla="*/ 60 w 456"/>
                <a:gd name="T11" fmla="*/ 331 h 470"/>
                <a:gd name="T12" fmla="*/ 355 w 456"/>
                <a:gd name="T13" fmla="*/ 409 h 470"/>
              </a:gdLst>
              <a:ahLst/>
              <a:cxnLst>
                <a:cxn ang="0">
                  <a:pos x="T0" y="T1"/>
                </a:cxn>
                <a:cxn ang="0">
                  <a:pos x="T2" y="T3"/>
                </a:cxn>
                <a:cxn ang="0">
                  <a:pos x="T4" y="T5"/>
                </a:cxn>
                <a:cxn ang="0">
                  <a:pos x="T6" y="T7"/>
                </a:cxn>
                <a:cxn ang="0">
                  <a:pos x="T8" y="T9"/>
                </a:cxn>
                <a:cxn ang="0">
                  <a:pos x="T10" y="T11"/>
                </a:cxn>
                <a:cxn ang="0">
                  <a:pos x="T12" y="T13"/>
                </a:cxn>
              </a:cxnLst>
              <a:rect l="0" t="0" r="r" b="b"/>
              <a:pathLst>
                <a:path w="456" h="470">
                  <a:moveTo>
                    <a:pt x="355" y="409"/>
                  </a:moveTo>
                  <a:cubicBezTo>
                    <a:pt x="406" y="379"/>
                    <a:pt x="441" y="332"/>
                    <a:pt x="455" y="279"/>
                  </a:cubicBezTo>
                  <a:cubicBezTo>
                    <a:pt x="402" y="265"/>
                    <a:pt x="354" y="229"/>
                    <a:pt x="324" y="178"/>
                  </a:cubicBezTo>
                  <a:cubicBezTo>
                    <a:pt x="294" y="126"/>
                    <a:pt x="288" y="68"/>
                    <a:pt x="303" y="14"/>
                  </a:cubicBezTo>
                  <a:cubicBezTo>
                    <a:pt x="249" y="0"/>
                    <a:pt x="190" y="6"/>
                    <a:pt x="139" y="36"/>
                  </a:cubicBezTo>
                  <a:cubicBezTo>
                    <a:pt x="35" y="96"/>
                    <a:pt x="0" y="228"/>
                    <a:pt x="60" y="331"/>
                  </a:cubicBezTo>
                  <a:cubicBezTo>
                    <a:pt x="119" y="433"/>
                    <a:pt x="251" y="469"/>
                    <a:pt x="355" y="409"/>
                  </a:cubicBezTo>
                </a:path>
              </a:pathLst>
            </a:custGeom>
            <a:solidFill>
              <a:schemeClr val="accent5">
                <a:alpha val="4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20" name="Freeform 56">
              <a:extLst>
                <a:ext uri="{FF2B5EF4-FFF2-40B4-BE49-F238E27FC236}">
                  <a16:creationId xmlns:a16="http://schemas.microsoft.com/office/drawing/2014/main" id="{BAB02D1D-5DCE-CF4D-A925-0CCCE6632957}"/>
                </a:ext>
              </a:extLst>
            </p:cNvPr>
            <p:cNvSpPr>
              <a:spLocks noChangeArrowheads="1"/>
            </p:cNvSpPr>
            <p:nvPr/>
          </p:nvSpPr>
          <p:spPr bwMode="auto">
            <a:xfrm>
              <a:off x="2119313" y="3741738"/>
              <a:ext cx="38100" cy="61912"/>
            </a:xfrm>
            <a:custGeom>
              <a:avLst/>
              <a:gdLst>
                <a:gd name="T0" fmla="*/ 7 w 107"/>
                <a:gd name="T1" fmla="*/ 0 h 173"/>
                <a:gd name="T2" fmla="*/ 25 w 107"/>
                <a:gd name="T3" fmla="*/ 105 h 173"/>
                <a:gd name="T4" fmla="*/ 106 w 107"/>
                <a:gd name="T5" fmla="*/ 172 h 173"/>
                <a:gd name="T6" fmla="*/ 78 w 107"/>
                <a:gd name="T7" fmla="*/ 74 h 173"/>
                <a:gd name="T8" fmla="*/ 7 w 107"/>
                <a:gd name="T9" fmla="*/ 0 h 173"/>
              </a:gdLst>
              <a:ahLst/>
              <a:cxnLst>
                <a:cxn ang="0">
                  <a:pos x="T0" y="T1"/>
                </a:cxn>
                <a:cxn ang="0">
                  <a:pos x="T2" y="T3"/>
                </a:cxn>
                <a:cxn ang="0">
                  <a:pos x="T4" y="T5"/>
                </a:cxn>
                <a:cxn ang="0">
                  <a:pos x="T6" y="T7"/>
                </a:cxn>
                <a:cxn ang="0">
                  <a:pos x="T8" y="T9"/>
                </a:cxn>
              </a:cxnLst>
              <a:rect l="0" t="0" r="r" b="b"/>
              <a:pathLst>
                <a:path w="107" h="173">
                  <a:moveTo>
                    <a:pt x="7" y="0"/>
                  </a:moveTo>
                  <a:cubicBezTo>
                    <a:pt x="0" y="36"/>
                    <a:pt x="6" y="73"/>
                    <a:pt x="25" y="105"/>
                  </a:cubicBezTo>
                  <a:cubicBezTo>
                    <a:pt x="43" y="136"/>
                    <a:pt x="72" y="160"/>
                    <a:pt x="106" y="172"/>
                  </a:cubicBezTo>
                  <a:cubicBezTo>
                    <a:pt x="105" y="138"/>
                    <a:pt x="95" y="105"/>
                    <a:pt x="78" y="74"/>
                  </a:cubicBezTo>
                  <a:cubicBezTo>
                    <a:pt x="60" y="43"/>
                    <a:pt x="36" y="18"/>
                    <a:pt x="7" y="0"/>
                  </a:cubicBezTo>
                </a:path>
              </a:pathLst>
            </a:custGeom>
            <a:solidFill>
              <a:schemeClr val="accent5">
                <a:alpha val="4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a:p>
          </p:txBody>
        </p:sp>
        <p:sp>
          <p:nvSpPr>
            <p:cNvPr id="21" name="Freeform 57">
              <a:extLst>
                <a:ext uri="{FF2B5EF4-FFF2-40B4-BE49-F238E27FC236}">
                  <a16:creationId xmlns:a16="http://schemas.microsoft.com/office/drawing/2014/main" id="{7B6CCA06-C5CD-2746-8BBD-306C87C5055D}"/>
                </a:ext>
              </a:extLst>
            </p:cNvPr>
            <p:cNvSpPr>
              <a:spLocks noChangeArrowheads="1"/>
            </p:cNvSpPr>
            <p:nvPr/>
          </p:nvSpPr>
          <p:spPr bwMode="auto">
            <a:xfrm>
              <a:off x="2100263" y="3673475"/>
              <a:ext cx="163512" cy="155575"/>
            </a:xfrm>
            <a:custGeom>
              <a:avLst/>
              <a:gdLst>
                <a:gd name="T0" fmla="*/ 63 w 456"/>
                <a:gd name="T1" fmla="*/ 177 h 433"/>
                <a:gd name="T2" fmla="*/ 133 w 456"/>
                <a:gd name="T3" fmla="*/ 86 h 433"/>
                <a:gd name="T4" fmla="*/ 208 w 456"/>
                <a:gd name="T5" fmla="*/ 66 h 433"/>
                <a:gd name="T6" fmla="*/ 208 w 456"/>
                <a:gd name="T7" fmla="*/ 66 h 433"/>
                <a:gd name="T8" fmla="*/ 339 w 456"/>
                <a:gd name="T9" fmla="*/ 141 h 433"/>
                <a:gd name="T10" fmla="*/ 283 w 456"/>
                <a:gd name="T11" fmla="*/ 347 h 433"/>
                <a:gd name="T12" fmla="*/ 208 w 456"/>
                <a:gd name="T13" fmla="*/ 367 h 433"/>
                <a:gd name="T14" fmla="*/ 159 w 456"/>
                <a:gd name="T15" fmla="*/ 359 h 433"/>
                <a:gd name="T16" fmla="*/ 152 w 456"/>
                <a:gd name="T17" fmla="*/ 425 h 433"/>
                <a:gd name="T18" fmla="*/ 208 w 456"/>
                <a:gd name="T19" fmla="*/ 432 h 433"/>
                <a:gd name="T20" fmla="*/ 316 w 456"/>
                <a:gd name="T21" fmla="*/ 403 h 433"/>
                <a:gd name="T22" fmla="*/ 395 w 456"/>
                <a:gd name="T23" fmla="*/ 108 h 433"/>
                <a:gd name="T24" fmla="*/ 208 w 456"/>
                <a:gd name="T25" fmla="*/ 0 h 433"/>
                <a:gd name="T26" fmla="*/ 100 w 456"/>
                <a:gd name="T27" fmla="*/ 29 h 433"/>
                <a:gd name="T28" fmla="*/ 0 w 456"/>
                <a:gd name="T29" fmla="*/ 160 h 433"/>
                <a:gd name="T30" fmla="*/ 60 w 456"/>
                <a:gd name="T31" fmla="*/ 187 h 433"/>
                <a:gd name="T32" fmla="*/ 63 w 456"/>
                <a:gd name="T33" fmla="*/ 177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6" h="433">
                  <a:moveTo>
                    <a:pt x="63" y="177"/>
                  </a:moveTo>
                  <a:cubicBezTo>
                    <a:pt x="73" y="139"/>
                    <a:pt x="98" y="106"/>
                    <a:pt x="133" y="86"/>
                  </a:cubicBezTo>
                  <a:cubicBezTo>
                    <a:pt x="156" y="73"/>
                    <a:pt x="182" y="66"/>
                    <a:pt x="208" y="66"/>
                  </a:cubicBezTo>
                  <a:lnTo>
                    <a:pt x="208" y="66"/>
                  </a:lnTo>
                  <a:cubicBezTo>
                    <a:pt x="262" y="66"/>
                    <a:pt x="312" y="95"/>
                    <a:pt x="339" y="141"/>
                  </a:cubicBezTo>
                  <a:cubicBezTo>
                    <a:pt x="380" y="213"/>
                    <a:pt x="355" y="305"/>
                    <a:pt x="283" y="347"/>
                  </a:cubicBezTo>
                  <a:cubicBezTo>
                    <a:pt x="260" y="360"/>
                    <a:pt x="235" y="367"/>
                    <a:pt x="208" y="367"/>
                  </a:cubicBezTo>
                  <a:cubicBezTo>
                    <a:pt x="191" y="367"/>
                    <a:pt x="175" y="364"/>
                    <a:pt x="159" y="359"/>
                  </a:cubicBezTo>
                  <a:cubicBezTo>
                    <a:pt x="160" y="381"/>
                    <a:pt x="158" y="403"/>
                    <a:pt x="152" y="425"/>
                  </a:cubicBezTo>
                  <a:cubicBezTo>
                    <a:pt x="170" y="430"/>
                    <a:pt x="189" y="432"/>
                    <a:pt x="208" y="432"/>
                  </a:cubicBezTo>
                  <a:cubicBezTo>
                    <a:pt x="245" y="432"/>
                    <a:pt x="282" y="423"/>
                    <a:pt x="316" y="403"/>
                  </a:cubicBezTo>
                  <a:cubicBezTo>
                    <a:pt x="419" y="344"/>
                    <a:pt x="455" y="212"/>
                    <a:pt x="395" y="108"/>
                  </a:cubicBezTo>
                  <a:cubicBezTo>
                    <a:pt x="355" y="39"/>
                    <a:pt x="283" y="0"/>
                    <a:pt x="208" y="0"/>
                  </a:cubicBezTo>
                  <a:cubicBezTo>
                    <a:pt x="171" y="0"/>
                    <a:pt x="134" y="10"/>
                    <a:pt x="100" y="29"/>
                  </a:cubicBezTo>
                  <a:cubicBezTo>
                    <a:pt x="49" y="59"/>
                    <a:pt x="14" y="107"/>
                    <a:pt x="0" y="160"/>
                  </a:cubicBezTo>
                  <a:cubicBezTo>
                    <a:pt x="21" y="166"/>
                    <a:pt x="42" y="175"/>
                    <a:pt x="60" y="187"/>
                  </a:cubicBezTo>
                  <a:cubicBezTo>
                    <a:pt x="61" y="184"/>
                    <a:pt x="62" y="181"/>
                    <a:pt x="63" y="177"/>
                  </a:cubicBezTo>
                </a:path>
              </a:pathLst>
            </a:custGeom>
            <a:solidFill>
              <a:schemeClr val="accent5">
                <a:alpha val="7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a:p>
          </p:txBody>
        </p:sp>
        <p:sp>
          <p:nvSpPr>
            <p:cNvPr id="22" name="Freeform 58">
              <a:extLst>
                <a:ext uri="{FF2B5EF4-FFF2-40B4-BE49-F238E27FC236}">
                  <a16:creationId xmlns:a16="http://schemas.microsoft.com/office/drawing/2014/main" id="{13A36AFC-F6D8-A347-9FAF-30163EA6510E}"/>
                </a:ext>
              </a:extLst>
            </p:cNvPr>
            <p:cNvSpPr>
              <a:spLocks noChangeArrowheads="1"/>
            </p:cNvSpPr>
            <p:nvPr/>
          </p:nvSpPr>
          <p:spPr bwMode="auto">
            <a:xfrm>
              <a:off x="2095500" y="3730625"/>
              <a:ext cx="63500" cy="95250"/>
            </a:xfrm>
            <a:custGeom>
              <a:avLst/>
              <a:gdLst>
                <a:gd name="T0" fmla="*/ 36 w 176"/>
                <a:gd name="T1" fmla="*/ 164 h 266"/>
                <a:gd name="T2" fmla="*/ 167 w 176"/>
                <a:gd name="T3" fmla="*/ 265 h 266"/>
                <a:gd name="T4" fmla="*/ 174 w 176"/>
                <a:gd name="T5" fmla="*/ 199 h 266"/>
                <a:gd name="T6" fmla="*/ 93 w 176"/>
                <a:gd name="T7" fmla="*/ 132 h 266"/>
                <a:gd name="T8" fmla="*/ 75 w 176"/>
                <a:gd name="T9" fmla="*/ 27 h 266"/>
                <a:gd name="T10" fmla="*/ 15 w 176"/>
                <a:gd name="T11" fmla="*/ 0 h 266"/>
                <a:gd name="T12" fmla="*/ 36 w 176"/>
                <a:gd name="T13" fmla="*/ 164 h 266"/>
              </a:gdLst>
              <a:ahLst/>
              <a:cxnLst>
                <a:cxn ang="0">
                  <a:pos x="T0" y="T1"/>
                </a:cxn>
                <a:cxn ang="0">
                  <a:pos x="T2" y="T3"/>
                </a:cxn>
                <a:cxn ang="0">
                  <a:pos x="T4" y="T5"/>
                </a:cxn>
                <a:cxn ang="0">
                  <a:pos x="T6" y="T7"/>
                </a:cxn>
                <a:cxn ang="0">
                  <a:pos x="T8" y="T9"/>
                </a:cxn>
                <a:cxn ang="0">
                  <a:pos x="T10" y="T11"/>
                </a:cxn>
                <a:cxn ang="0">
                  <a:pos x="T12" y="T13"/>
                </a:cxn>
              </a:cxnLst>
              <a:rect l="0" t="0" r="r" b="b"/>
              <a:pathLst>
                <a:path w="176" h="266">
                  <a:moveTo>
                    <a:pt x="36" y="164"/>
                  </a:moveTo>
                  <a:cubicBezTo>
                    <a:pt x="66" y="216"/>
                    <a:pt x="114" y="251"/>
                    <a:pt x="167" y="265"/>
                  </a:cubicBezTo>
                  <a:cubicBezTo>
                    <a:pt x="173" y="243"/>
                    <a:pt x="175" y="221"/>
                    <a:pt x="174" y="199"/>
                  </a:cubicBezTo>
                  <a:cubicBezTo>
                    <a:pt x="140" y="187"/>
                    <a:pt x="111" y="163"/>
                    <a:pt x="93" y="132"/>
                  </a:cubicBezTo>
                  <a:cubicBezTo>
                    <a:pt x="74" y="100"/>
                    <a:pt x="68" y="63"/>
                    <a:pt x="75" y="27"/>
                  </a:cubicBezTo>
                  <a:cubicBezTo>
                    <a:pt x="57" y="15"/>
                    <a:pt x="36" y="6"/>
                    <a:pt x="15" y="0"/>
                  </a:cubicBezTo>
                  <a:cubicBezTo>
                    <a:pt x="0" y="54"/>
                    <a:pt x="6" y="113"/>
                    <a:pt x="36" y="164"/>
                  </a:cubicBezTo>
                </a:path>
              </a:pathLst>
            </a:custGeom>
            <a:solidFill>
              <a:schemeClr val="accent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23" name="Freeform 60">
              <a:extLst>
                <a:ext uri="{FF2B5EF4-FFF2-40B4-BE49-F238E27FC236}">
                  <a16:creationId xmlns:a16="http://schemas.microsoft.com/office/drawing/2014/main" id="{4105A4B4-5E8F-E947-AD25-FAA110BA7D30}"/>
                </a:ext>
              </a:extLst>
            </p:cNvPr>
            <p:cNvSpPr>
              <a:spLocks noChangeArrowheads="1"/>
            </p:cNvSpPr>
            <p:nvPr/>
          </p:nvSpPr>
          <p:spPr bwMode="auto">
            <a:xfrm>
              <a:off x="1322388" y="3937000"/>
              <a:ext cx="466725" cy="217488"/>
            </a:xfrm>
            <a:custGeom>
              <a:avLst/>
              <a:gdLst>
                <a:gd name="T0" fmla="*/ 1237 w 1297"/>
                <a:gd name="T1" fmla="*/ 139 h 605"/>
                <a:gd name="T2" fmla="*/ 942 w 1297"/>
                <a:gd name="T3" fmla="*/ 60 h 605"/>
                <a:gd name="T4" fmla="*/ 0 w 1297"/>
                <a:gd name="T5" fmla="*/ 604 h 605"/>
                <a:gd name="T6" fmla="*/ 864 w 1297"/>
                <a:gd name="T7" fmla="*/ 604 h 605"/>
                <a:gd name="T8" fmla="*/ 1158 w 1297"/>
                <a:gd name="T9" fmla="*/ 434 h 605"/>
                <a:gd name="T10" fmla="*/ 1237 w 1297"/>
                <a:gd name="T11" fmla="*/ 139 h 605"/>
              </a:gdLst>
              <a:ahLst/>
              <a:cxnLst>
                <a:cxn ang="0">
                  <a:pos x="T0" y="T1"/>
                </a:cxn>
                <a:cxn ang="0">
                  <a:pos x="T2" y="T3"/>
                </a:cxn>
                <a:cxn ang="0">
                  <a:pos x="T4" y="T5"/>
                </a:cxn>
                <a:cxn ang="0">
                  <a:pos x="T6" y="T7"/>
                </a:cxn>
                <a:cxn ang="0">
                  <a:pos x="T8" y="T9"/>
                </a:cxn>
                <a:cxn ang="0">
                  <a:pos x="T10" y="T11"/>
                </a:cxn>
              </a:cxnLst>
              <a:rect l="0" t="0" r="r" b="b"/>
              <a:pathLst>
                <a:path w="1297" h="605">
                  <a:moveTo>
                    <a:pt x="1237" y="139"/>
                  </a:moveTo>
                  <a:cubicBezTo>
                    <a:pt x="1177" y="36"/>
                    <a:pt x="1045" y="0"/>
                    <a:pt x="942" y="60"/>
                  </a:cubicBezTo>
                  <a:lnTo>
                    <a:pt x="0" y="604"/>
                  </a:lnTo>
                  <a:lnTo>
                    <a:pt x="864" y="604"/>
                  </a:lnTo>
                  <a:lnTo>
                    <a:pt x="1158" y="434"/>
                  </a:lnTo>
                  <a:cubicBezTo>
                    <a:pt x="1261" y="374"/>
                    <a:pt x="1296" y="242"/>
                    <a:pt x="1237" y="139"/>
                  </a:cubicBezTo>
                </a:path>
              </a:pathLst>
            </a:custGeom>
            <a:solidFill>
              <a:schemeClr val="accent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24" name="Freeform 61">
              <a:extLst>
                <a:ext uri="{FF2B5EF4-FFF2-40B4-BE49-F238E27FC236}">
                  <a16:creationId xmlns:a16="http://schemas.microsoft.com/office/drawing/2014/main" id="{D1F6682C-47E4-0942-8D63-0E7191B0FF86}"/>
                </a:ext>
              </a:extLst>
            </p:cNvPr>
            <p:cNvSpPr>
              <a:spLocks noChangeArrowheads="1"/>
            </p:cNvSpPr>
            <p:nvPr/>
          </p:nvSpPr>
          <p:spPr bwMode="auto">
            <a:xfrm>
              <a:off x="2116138" y="3849688"/>
              <a:ext cx="174625" cy="227012"/>
            </a:xfrm>
            <a:custGeom>
              <a:avLst/>
              <a:gdLst>
                <a:gd name="T0" fmla="*/ 0 w 484"/>
                <a:gd name="T1" fmla="*/ 352 h 632"/>
                <a:gd name="T2" fmla="*/ 132 w 484"/>
                <a:gd name="T3" fmla="*/ 453 h 632"/>
                <a:gd name="T4" fmla="*/ 153 w 484"/>
                <a:gd name="T5" fmla="*/ 617 h 632"/>
                <a:gd name="T6" fmla="*/ 317 w 484"/>
                <a:gd name="T7" fmla="*/ 595 h 632"/>
                <a:gd name="T8" fmla="*/ 483 w 484"/>
                <a:gd name="T9" fmla="*/ 499 h 632"/>
                <a:gd name="T10" fmla="*/ 483 w 484"/>
                <a:gd name="T11" fmla="*/ 0 h 632"/>
                <a:gd name="T12" fmla="*/ 101 w 484"/>
                <a:gd name="T13" fmla="*/ 221 h 632"/>
                <a:gd name="T14" fmla="*/ 0 w 484"/>
                <a:gd name="T15" fmla="*/ 352 h 6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4" h="632">
                  <a:moveTo>
                    <a:pt x="0" y="352"/>
                  </a:moveTo>
                  <a:cubicBezTo>
                    <a:pt x="54" y="366"/>
                    <a:pt x="102" y="401"/>
                    <a:pt x="132" y="453"/>
                  </a:cubicBezTo>
                  <a:cubicBezTo>
                    <a:pt x="161" y="504"/>
                    <a:pt x="167" y="563"/>
                    <a:pt x="153" y="617"/>
                  </a:cubicBezTo>
                  <a:cubicBezTo>
                    <a:pt x="207" y="631"/>
                    <a:pt x="265" y="625"/>
                    <a:pt x="317" y="595"/>
                  </a:cubicBezTo>
                  <a:lnTo>
                    <a:pt x="483" y="499"/>
                  </a:lnTo>
                  <a:lnTo>
                    <a:pt x="483" y="0"/>
                  </a:lnTo>
                  <a:lnTo>
                    <a:pt x="101" y="221"/>
                  </a:lnTo>
                  <a:cubicBezTo>
                    <a:pt x="49" y="251"/>
                    <a:pt x="15" y="299"/>
                    <a:pt x="0" y="352"/>
                  </a:cubicBezTo>
                </a:path>
              </a:pathLst>
            </a:custGeom>
            <a:solidFill>
              <a:schemeClr val="accent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25" name="Freeform 62">
              <a:extLst>
                <a:ext uri="{FF2B5EF4-FFF2-40B4-BE49-F238E27FC236}">
                  <a16:creationId xmlns:a16="http://schemas.microsoft.com/office/drawing/2014/main" id="{94070370-F758-A84C-984D-D4DFF7E63A47}"/>
                </a:ext>
              </a:extLst>
            </p:cNvPr>
            <p:cNvSpPr>
              <a:spLocks noChangeArrowheads="1"/>
            </p:cNvSpPr>
            <p:nvPr/>
          </p:nvSpPr>
          <p:spPr bwMode="auto">
            <a:xfrm>
              <a:off x="1639888" y="3576638"/>
              <a:ext cx="336550" cy="144462"/>
            </a:xfrm>
            <a:custGeom>
              <a:avLst/>
              <a:gdLst>
                <a:gd name="T0" fmla="*/ 50 w 934"/>
                <a:gd name="T1" fmla="*/ 260 h 400"/>
                <a:gd name="T2" fmla="*/ 345 w 934"/>
                <a:gd name="T3" fmla="*/ 339 h 400"/>
                <a:gd name="T4" fmla="*/ 933 w 934"/>
                <a:gd name="T5" fmla="*/ 0 h 400"/>
                <a:gd name="T6" fmla="*/ 84 w 934"/>
                <a:gd name="T7" fmla="*/ 0 h 400"/>
                <a:gd name="T8" fmla="*/ 50 w 934"/>
                <a:gd name="T9" fmla="*/ 260 h 400"/>
              </a:gdLst>
              <a:ahLst/>
              <a:cxnLst>
                <a:cxn ang="0">
                  <a:pos x="T0" y="T1"/>
                </a:cxn>
                <a:cxn ang="0">
                  <a:pos x="T2" y="T3"/>
                </a:cxn>
                <a:cxn ang="0">
                  <a:pos x="T4" y="T5"/>
                </a:cxn>
                <a:cxn ang="0">
                  <a:pos x="T6" y="T7"/>
                </a:cxn>
                <a:cxn ang="0">
                  <a:pos x="T8" y="T9"/>
                </a:cxn>
              </a:cxnLst>
              <a:rect l="0" t="0" r="r" b="b"/>
              <a:pathLst>
                <a:path w="934" h="400">
                  <a:moveTo>
                    <a:pt x="50" y="260"/>
                  </a:moveTo>
                  <a:cubicBezTo>
                    <a:pt x="109" y="363"/>
                    <a:pt x="241" y="399"/>
                    <a:pt x="345" y="339"/>
                  </a:cubicBezTo>
                  <a:lnTo>
                    <a:pt x="933" y="0"/>
                  </a:lnTo>
                  <a:lnTo>
                    <a:pt x="84" y="0"/>
                  </a:lnTo>
                  <a:cubicBezTo>
                    <a:pt x="16" y="67"/>
                    <a:pt x="0" y="174"/>
                    <a:pt x="50" y="260"/>
                  </a:cubicBezTo>
                </a:path>
              </a:pathLst>
            </a:custGeom>
            <a:solidFill>
              <a:schemeClr val="accent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26" name="Freeform 63">
              <a:extLst>
                <a:ext uri="{FF2B5EF4-FFF2-40B4-BE49-F238E27FC236}">
                  <a16:creationId xmlns:a16="http://schemas.microsoft.com/office/drawing/2014/main" id="{3A5E6721-838F-AD4D-A330-06A977A14263}"/>
                </a:ext>
              </a:extLst>
            </p:cNvPr>
            <p:cNvSpPr>
              <a:spLocks noChangeArrowheads="1"/>
            </p:cNvSpPr>
            <p:nvPr/>
          </p:nvSpPr>
          <p:spPr bwMode="auto">
            <a:xfrm>
              <a:off x="1260475" y="3829050"/>
              <a:ext cx="77788" cy="153988"/>
            </a:xfrm>
            <a:custGeom>
              <a:avLst/>
              <a:gdLst>
                <a:gd name="T0" fmla="*/ 154 w 215"/>
                <a:gd name="T1" fmla="*/ 105 h 427"/>
                <a:gd name="T2" fmla="*/ 0 w 215"/>
                <a:gd name="T3" fmla="*/ 0 h 427"/>
                <a:gd name="T4" fmla="*/ 0 w 215"/>
                <a:gd name="T5" fmla="*/ 66 h 427"/>
                <a:gd name="T6" fmla="*/ 98 w 215"/>
                <a:gd name="T7" fmla="*/ 137 h 427"/>
                <a:gd name="T8" fmla="*/ 43 w 215"/>
                <a:gd name="T9" fmla="*/ 343 h 427"/>
                <a:gd name="T10" fmla="*/ 0 w 215"/>
                <a:gd name="T11" fmla="*/ 359 h 427"/>
                <a:gd name="T12" fmla="*/ 0 w 215"/>
                <a:gd name="T13" fmla="*/ 426 h 427"/>
                <a:gd name="T14" fmla="*/ 75 w 215"/>
                <a:gd name="T15" fmla="*/ 400 h 427"/>
                <a:gd name="T16" fmla="*/ 154 w 215"/>
                <a:gd name="T17" fmla="*/ 105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5" h="427">
                  <a:moveTo>
                    <a:pt x="154" y="105"/>
                  </a:moveTo>
                  <a:cubicBezTo>
                    <a:pt x="120" y="47"/>
                    <a:pt x="63" y="10"/>
                    <a:pt x="0" y="0"/>
                  </a:cubicBezTo>
                  <a:lnTo>
                    <a:pt x="0" y="66"/>
                  </a:lnTo>
                  <a:cubicBezTo>
                    <a:pt x="41" y="75"/>
                    <a:pt x="77" y="100"/>
                    <a:pt x="98" y="137"/>
                  </a:cubicBezTo>
                  <a:cubicBezTo>
                    <a:pt x="139" y="209"/>
                    <a:pt x="115" y="301"/>
                    <a:pt x="43" y="343"/>
                  </a:cubicBezTo>
                  <a:cubicBezTo>
                    <a:pt x="29" y="351"/>
                    <a:pt x="15" y="356"/>
                    <a:pt x="0" y="359"/>
                  </a:cubicBezTo>
                  <a:lnTo>
                    <a:pt x="0" y="426"/>
                  </a:lnTo>
                  <a:cubicBezTo>
                    <a:pt x="26" y="422"/>
                    <a:pt x="51" y="413"/>
                    <a:pt x="75" y="400"/>
                  </a:cubicBezTo>
                  <a:cubicBezTo>
                    <a:pt x="179" y="340"/>
                    <a:pt x="214" y="208"/>
                    <a:pt x="154" y="105"/>
                  </a:cubicBezTo>
                </a:path>
              </a:pathLst>
            </a:custGeom>
            <a:solidFill>
              <a:schemeClr val="accent1">
                <a:alpha val="7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27" name="Freeform 64">
              <a:extLst>
                <a:ext uri="{FF2B5EF4-FFF2-40B4-BE49-F238E27FC236}">
                  <a16:creationId xmlns:a16="http://schemas.microsoft.com/office/drawing/2014/main" id="{72A1A936-A9A8-ED4D-990F-215D8E05EA07}"/>
                </a:ext>
              </a:extLst>
            </p:cNvPr>
            <p:cNvSpPr>
              <a:spLocks noChangeArrowheads="1"/>
            </p:cNvSpPr>
            <p:nvPr/>
          </p:nvSpPr>
          <p:spPr bwMode="auto">
            <a:xfrm>
              <a:off x="2011466" y="3970303"/>
              <a:ext cx="163513" cy="169863"/>
            </a:xfrm>
            <a:custGeom>
              <a:avLst/>
              <a:gdLst>
                <a:gd name="T0" fmla="*/ 324 w 456"/>
                <a:gd name="T1" fmla="*/ 178 h 470"/>
                <a:gd name="T2" fmla="*/ 302 w 456"/>
                <a:gd name="T3" fmla="*/ 14 h 470"/>
                <a:gd name="T4" fmla="*/ 139 w 456"/>
                <a:gd name="T5" fmla="*/ 36 h 470"/>
                <a:gd name="T6" fmla="*/ 60 w 456"/>
                <a:gd name="T7" fmla="*/ 331 h 470"/>
                <a:gd name="T8" fmla="*/ 355 w 456"/>
                <a:gd name="T9" fmla="*/ 410 h 470"/>
                <a:gd name="T10" fmla="*/ 455 w 456"/>
                <a:gd name="T11" fmla="*/ 279 h 470"/>
                <a:gd name="T12" fmla="*/ 324 w 456"/>
                <a:gd name="T13" fmla="*/ 178 h 470"/>
              </a:gdLst>
              <a:ahLst/>
              <a:cxnLst>
                <a:cxn ang="0">
                  <a:pos x="T0" y="T1"/>
                </a:cxn>
                <a:cxn ang="0">
                  <a:pos x="T2" y="T3"/>
                </a:cxn>
                <a:cxn ang="0">
                  <a:pos x="T4" y="T5"/>
                </a:cxn>
                <a:cxn ang="0">
                  <a:pos x="T6" y="T7"/>
                </a:cxn>
                <a:cxn ang="0">
                  <a:pos x="T8" y="T9"/>
                </a:cxn>
                <a:cxn ang="0">
                  <a:pos x="T10" y="T11"/>
                </a:cxn>
                <a:cxn ang="0">
                  <a:pos x="T12" y="T13"/>
                </a:cxn>
              </a:cxnLst>
              <a:rect l="0" t="0" r="r" b="b"/>
              <a:pathLst>
                <a:path w="456" h="470">
                  <a:moveTo>
                    <a:pt x="324" y="178"/>
                  </a:moveTo>
                  <a:cubicBezTo>
                    <a:pt x="294" y="126"/>
                    <a:pt x="288" y="67"/>
                    <a:pt x="302" y="14"/>
                  </a:cubicBezTo>
                  <a:cubicBezTo>
                    <a:pt x="249" y="0"/>
                    <a:pt x="190" y="6"/>
                    <a:pt x="139" y="36"/>
                  </a:cubicBezTo>
                  <a:cubicBezTo>
                    <a:pt x="35" y="95"/>
                    <a:pt x="0" y="228"/>
                    <a:pt x="60" y="331"/>
                  </a:cubicBezTo>
                  <a:cubicBezTo>
                    <a:pt x="119" y="435"/>
                    <a:pt x="251" y="469"/>
                    <a:pt x="355" y="410"/>
                  </a:cubicBezTo>
                  <a:cubicBezTo>
                    <a:pt x="406" y="380"/>
                    <a:pt x="441" y="332"/>
                    <a:pt x="455" y="279"/>
                  </a:cubicBezTo>
                  <a:cubicBezTo>
                    <a:pt x="402" y="264"/>
                    <a:pt x="354" y="230"/>
                    <a:pt x="324" y="178"/>
                  </a:cubicBezTo>
                </a:path>
              </a:pathLst>
            </a:custGeom>
            <a:solidFill>
              <a:schemeClr val="accent4">
                <a:alpha val="4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28" name="Freeform 65">
              <a:extLst>
                <a:ext uri="{FF2B5EF4-FFF2-40B4-BE49-F238E27FC236}">
                  <a16:creationId xmlns:a16="http://schemas.microsoft.com/office/drawing/2014/main" id="{6CFDFA04-DBD1-F941-A784-26A0CB719DC0}"/>
                </a:ext>
              </a:extLst>
            </p:cNvPr>
            <p:cNvSpPr>
              <a:spLocks noChangeArrowheads="1"/>
            </p:cNvSpPr>
            <p:nvPr/>
          </p:nvSpPr>
          <p:spPr bwMode="auto">
            <a:xfrm>
              <a:off x="2112569" y="3970303"/>
              <a:ext cx="69450" cy="101635"/>
            </a:xfrm>
            <a:custGeom>
              <a:avLst/>
              <a:gdLst>
                <a:gd name="T0" fmla="*/ 146 w 182"/>
                <a:gd name="T1" fmla="*/ 101 h 266"/>
                <a:gd name="T2" fmla="*/ 14 w 182"/>
                <a:gd name="T3" fmla="*/ 0 h 266"/>
                <a:gd name="T4" fmla="*/ 36 w 182"/>
                <a:gd name="T5" fmla="*/ 164 h 266"/>
                <a:gd name="T6" fmla="*/ 167 w 182"/>
                <a:gd name="T7" fmla="*/ 265 h 266"/>
                <a:gd name="T8" fmla="*/ 146 w 182"/>
                <a:gd name="T9" fmla="*/ 101 h 266"/>
              </a:gdLst>
              <a:ahLst/>
              <a:cxnLst>
                <a:cxn ang="0">
                  <a:pos x="T0" y="T1"/>
                </a:cxn>
                <a:cxn ang="0">
                  <a:pos x="T2" y="T3"/>
                </a:cxn>
                <a:cxn ang="0">
                  <a:pos x="T4" y="T5"/>
                </a:cxn>
                <a:cxn ang="0">
                  <a:pos x="T6" y="T7"/>
                </a:cxn>
                <a:cxn ang="0">
                  <a:pos x="T8" y="T9"/>
                </a:cxn>
              </a:cxnLst>
              <a:rect l="0" t="0" r="r" b="b"/>
              <a:pathLst>
                <a:path w="182" h="266">
                  <a:moveTo>
                    <a:pt x="146" y="101"/>
                  </a:moveTo>
                  <a:cubicBezTo>
                    <a:pt x="116" y="49"/>
                    <a:pt x="68" y="14"/>
                    <a:pt x="14" y="0"/>
                  </a:cubicBezTo>
                  <a:cubicBezTo>
                    <a:pt x="0" y="53"/>
                    <a:pt x="6" y="112"/>
                    <a:pt x="36" y="164"/>
                  </a:cubicBezTo>
                  <a:cubicBezTo>
                    <a:pt x="66" y="216"/>
                    <a:pt x="114" y="250"/>
                    <a:pt x="167" y="265"/>
                  </a:cubicBezTo>
                  <a:cubicBezTo>
                    <a:pt x="181" y="211"/>
                    <a:pt x="175" y="152"/>
                    <a:pt x="146" y="101"/>
                  </a:cubicBezTo>
                </a:path>
              </a:pathLst>
            </a:custGeom>
            <a:solidFill>
              <a:schemeClr val="accent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grpSp>
      <p:sp>
        <p:nvSpPr>
          <p:cNvPr id="31" name="Rechthoek 2">
            <a:extLst>
              <a:ext uri="{FF2B5EF4-FFF2-40B4-BE49-F238E27FC236}">
                <a16:creationId xmlns:a16="http://schemas.microsoft.com/office/drawing/2014/main" id="{8856EF5F-127A-A649-82E6-6FCFC736A5A5}"/>
              </a:ext>
            </a:extLst>
          </p:cNvPr>
          <p:cNvSpPr/>
          <p:nvPr userDrawn="1"/>
        </p:nvSpPr>
        <p:spPr>
          <a:xfrm>
            <a:off x="10002839" y="143250"/>
            <a:ext cx="1633781"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accent4"/>
                </a:solidFill>
                <a:effectLst/>
                <a:uLnTx/>
                <a:uFillTx/>
                <a:latin typeface="+mn-lt"/>
                <a:ea typeface="+mn-ea"/>
                <a:cs typeface="+mn-cs"/>
              </a:rPr>
              <a:t>Colt confidential</a:t>
            </a:r>
          </a:p>
        </p:txBody>
      </p:sp>
    </p:spTree>
    <p:extLst>
      <p:ext uri="{BB962C8B-B14F-4D97-AF65-F5344CB8AC3E}">
        <p14:creationId xmlns:p14="http://schemas.microsoft.com/office/powerpoint/2010/main" val="2931707210"/>
      </p:ext>
    </p:extLst>
  </p:cSld>
  <p:clrMapOvr>
    <a:masterClrMapping/>
  </p:clrMapOvr>
  <p:extLst>
    <p:ext uri="{DCECCB84-F9BA-43D5-87BE-67443E8EF086}">
      <p15:sldGuideLst xmlns:p15="http://schemas.microsoft.com/office/powerpoint/2012/main">
        <p15:guide id="1" pos="5382">
          <p15:clr>
            <a:srgbClr val="FBAE40"/>
          </p15:clr>
        </p15:guide>
        <p15:guide id="2" pos="846">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Agenda v1">
    <p:spTree>
      <p:nvGrpSpPr>
        <p:cNvPr id="1" name=""/>
        <p:cNvGrpSpPr/>
        <p:nvPr/>
      </p:nvGrpSpPr>
      <p:grpSpPr>
        <a:xfrm>
          <a:off x="0" y="0"/>
          <a:ext cx="0" cy="0"/>
          <a:chOff x="0" y="0"/>
          <a:chExt cx="0" cy="0"/>
        </a:xfrm>
      </p:grpSpPr>
      <p:sp>
        <p:nvSpPr>
          <p:cNvPr id="9" name="Freeform 121">
            <a:extLst>
              <a:ext uri="{FF2B5EF4-FFF2-40B4-BE49-F238E27FC236}">
                <a16:creationId xmlns:a16="http://schemas.microsoft.com/office/drawing/2014/main" id="{C400EB2C-77E2-47DD-BD49-274D28B48C75}"/>
              </a:ext>
            </a:extLst>
          </p:cNvPr>
          <p:cNvSpPr>
            <a:spLocks noChangeArrowheads="1"/>
          </p:cNvSpPr>
          <p:nvPr/>
        </p:nvSpPr>
        <p:spPr bwMode="auto">
          <a:xfrm>
            <a:off x="4111992" y="2450971"/>
            <a:ext cx="451556" cy="733784"/>
          </a:xfrm>
          <a:custGeom>
            <a:avLst/>
            <a:gdLst>
              <a:gd name="T0" fmla="*/ 99 w 107"/>
              <a:gd name="T1" fmla="*/ 171 h 172"/>
              <a:gd name="T2" fmla="*/ 82 w 107"/>
              <a:gd name="T3" fmla="*/ 67 h 172"/>
              <a:gd name="T4" fmla="*/ 0 w 107"/>
              <a:gd name="T5" fmla="*/ 0 h 172"/>
              <a:gd name="T6" fmla="*/ 29 w 107"/>
              <a:gd name="T7" fmla="*/ 98 h 172"/>
              <a:gd name="T8" fmla="*/ 99 w 107"/>
              <a:gd name="T9" fmla="*/ 171 h 172"/>
            </a:gdLst>
            <a:ahLst/>
            <a:cxnLst>
              <a:cxn ang="0">
                <a:pos x="T0" y="T1"/>
              </a:cxn>
              <a:cxn ang="0">
                <a:pos x="T2" y="T3"/>
              </a:cxn>
              <a:cxn ang="0">
                <a:pos x="T4" y="T5"/>
              </a:cxn>
              <a:cxn ang="0">
                <a:pos x="T6" y="T7"/>
              </a:cxn>
              <a:cxn ang="0">
                <a:pos x="T8" y="T9"/>
              </a:cxn>
            </a:cxnLst>
            <a:rect l="0" t="0" r="r" b="b"/>
            <a:pathLst>
              <a:path w="107" h="172">
                <a:moveTo>
                  <a:pt x="99" y="171"/>
                </a:moveTo>
                <a:cubicBezTo>
                  <a:pt x="106" y="137"/>
                  <a:pt x="101" y="100"/>
                  <a:pt x="82" y="67"/>
                </a:cubicBezTo>
                <a:cubicBezTo>
                  <a:pt x="63" y="35"/>
                  <a:pt x="34" y="12"/>
                  <a:pt x="0" y="0"/>
                </a:cubicBezTo>
                <a:cubicBezTo>
                  <a:pt x="2" y="33"/>
                  <a:pt x="11" y="67"/>
                  <a:pt x="29" y="98"/>
                </a:cubicBezTo>
                <a:cubicBezTo>
                  <a:pt x="47" y="129"/>
                  <a:pt x="71" y="153"/>
                  <a:pt x="99" y="171"/>
                </a:cubicBezTo>
              </a:path>
            </a:pathLst>
          </a:custGeom>
          <a:solidFill>
            <a:schemeClr val="accent3">
              <a:alpha val="4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0" name="Freeform 122">
            <a:extLst>
              <a:ext uri="{FF2B5EF4-FFF2-40B4-BE49-F238E27FC236}">
                <a16:creationId xmlns:a16="http://schemas.microsoft.com/office/drawing/2014/main" id="{0AEC132E-078C-4D8E-9E36-028C4AE75647}"/>
              </a:ext>
            </a:extLst>
          </p:cNvPr>
          <p:cNvSpPr>
            <a:spLocks noChangeArrowheads="1"/>
          </p:cNvSpPr>
          <p:nvPr/>
        </p:nvSpPr>
        <p:spPr bwMode="auto">
          <a:xfrm>
            <a:off x="4114895" y="1375617"/>
            <a:ext cx="1956741" cy="2013191"/>
          </a:xfrm>
          <a:custGeom>
            <a:avLst/>
            <a:gdLst>
              <a:gd name="T0" fmla="*/ 101 w 457"/>
              <a:gd name="T1" fmla="*/ 60 h 471"/>
              <a:gd name="T2" fmla="*/ 0 w 457"/>
              <a:gd name="T3" fmla="*/ 191 h 471"/>
              <a:gd name="T4" fmla="*/ 131 w 457"/>
              <a:gd name="T5" fmla="*/ 292 h 471"/>
              <a:gd name="T6" fmla="*/ 153 w 457"/>
              <a:gd name="T7" fmla="*/ 455 h 471"/>
              <a:gd name="T8" fmla="*/ 317 w 457"/>
              <a:gd name="T9" fmla="*/ 434 h 471"/>
              <a:gd name="T10" fmla="*/ 396 w 457"/>
              <a:gd name="T11" fmla="*/ 139 h 471"/>
              <a:gd name="T12" fmla="*/ 101 w 457"/>
              <a:gd name="T13" fmla="*/ 60 h 471"/>
            </a:gdLst>
            <a:ahLst/>
            <a:cxnLst>
              <a:cxn ang="0">
                <a:pos x="T0" y="T1"/>
              </a:cxn>
              <a:cxn ang="0">
                <a:pos x="T2" y="T3"/>
              </a:cxn>
              <a:cxn ang="0">
                <a:pos x="T4" y="T5"/>
              </a:cxn>
              <a:cxn ang="0">
                <a:pos x="T6" y="T7"/>
              </a:cxn>
              <a:cxn ang="0">
                <a:pos x="T8" y="T9"/>
              </a:cxn>
              <a:cxn ang="0">
                <a:pos x="T10" y="T11"/>
              </a:cxn>
              <a:cxn ang="0">
                <a:pos x="T12" y="T13"/>
              </a:cxn>
            </a:cxnLst>
            <a:rect l="0" t="0" r="r" b="b"/>
            <a:pathLst>
              <a:path w="457" h="471">
                <a:moveTo>
                  <a:pt x="101" y="60"/>
                </a:moveTo>
                <a:cubicBezTo>
                  <a:pt x="49" y="90"/>
                  <a:pt x="15" y="138"/>
                  <a:pt x="0" y="191"/>
                </a:cubicBezTo>
                <a:cubicBezTo>
                  <a:pt x="54" y="205"/>
                  <a:pt x="101" y="241"/>
                  <a:pt x="131" y="292"/>
                </a:cubicBezTo>
                <a:cubicBezTo>
                  <a:pt x="160" y="344"/>
                  <a:pt x="167" y="402"/>
                  <a:pt x="153" y="455"/>
                </a:cubicBezTo>
                <a:cubicBezTo>
                  <a:pt x="206" y="470"/>
                  <a:pt x="265" y="464"/>
                  <a:pt x="317" y="434"/>
                </a:cubicBezTo>
                <a:cubicBezTo>
                  <a:pt x="420" y="374"/>
                  <a:pt x="456" y="242"/>
                  <a:pt x="396" y="139"/>
                </a:cubicBezTo>
                <a:cubicBezTo>
                  <a:pt x="336" y="36"/>
                  <a:pt x="204" y="0"/>
                  <a:pt x="101" y="60"/>
                </a:cubicBezTo>
              </a:path>
            </a:pathLst>
          </a:custGeom>
          <a:solidFill>
            <a:schemeClr val="accent3">
              <a:alpha val="40000"/>
            </a:schemeClr>
          </a:solidFill>
          <a:ln w="9525" cap="flat">
            <a:no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1" name="Freeform 123">
            <a:extLst>
              <a:ext uri="{FF2B5EF4-FFF2-40B4-BE49-F238E27FC236}">
                <a16:creationId xmlns:a16="http://schemas.microsoft.com/office/drawing/2014/main" id="{84CDA851-AAD8-447D-A1C1-EF2FB139299E}"/>
              </a:ext>
            </a:extLst>
          </p:cNvPr>
          <p:cNvSpPr>
            <a:spLocks noChangeArrowheads="1"/>
          </p:cNvSpPr>
          <p:nvPr/>
        </p:nvSpPr>
        <p:spPr bwMode="auto">
          <a:xfrm>
            <a:off x="-8459" y="3316452"/>
            <a:ext cx="2709334" cy="3066821"/>
          </a:xfrm>
          <a:custGeom>
            <a:avLst/>
            <a:gdLst>
              <a:gd name="T0" fmla="*/ 572 w 633"/>
              <a:gd name="T1" fmla="*/ 139 h 719"/>
              <a:gd name="T2" fmla="*/ 277 w 633"/>
              <a:gd name="T3" fmla="*/ 60 h 719"/>
              <a:gd name="T4" fmla="*/ 0 w 633"/>
              <a:gd name="T5" fmla="*/ 219 h 719"/>
              <a:gd name="T6" fmla="*/ 0 w 633"/>
              <a:gd name="T7" fmla="*/ 718 h 719"/>
              <a:gd name="T8" fmla="*/ 493 w 633"/>
              <a:gd name="T9" fmla="*/ 434 h 719"/>
              <a:gd name="T10" fmla="*/ 572 w 633"/>
              <a:gd name="T11" fmla="*/ 139 h 719"/>
            </a:gdLst>
            <a:ahLst/>
            <a:cxnLst>
              <a:cxn ang="0">
                <a:pos x="T0" y="T1"/>
              </a:cxn>
              <a:cxn ang="0">
                <a:pos x="T2" y="T3"/>
              </a:cxn>
              <a:cxn ang="0">
                <a:pos x="T4" y="T5"/>
              </a:cxn>
              <a:cxn ang="0">
                <a:pos x="T6" y="T7"/>
              </a:cxn>
              <a:cxn ang="0">
                <a:pos x="T8" y="T9"/>
              </a:cxn>
              <a:cxn ang="0">
                <a:pos x="T10" y="T11"/>
              </a:cxn>
            </a:cxnLst>
            <a:rect l="0" t="0" r="r" b="b"/>
            <a:pathLst>
              <a:path w="633" h="719">
                <a:moveTo>
                  <a:pt x="572" y="139"/>
                </a:moveTo>
                <a:cubicBezTo>
                  <a:pt x="512" y="35"/>
                  <a:pt x="380" y="0"/>
                  <a:pt x="277" y="60"/>
                </a:cubicBezTo>
                <a:lnTo>
                  <a:pt x="0" y="219"/>
                </a:lnTo>
                <a:lnTo>
                  <a:pt x="0" y="718"/>
                </a:lnTo>
                <a:lnTo>
                  <a:pt x="493" y="434"/>
                </a:lnTo>
                <a:cubicBezTo>
                  <a:pt x="596" y="374"/>
                  <a:pt x="632" y="242"/>
                  <a:pt x="572" y="139"/>
                </a:cubicBezTo>
              </a:path>
            </a:pathLst>
          </a:custGeom>
          <a:solidFill>
            <a:schemeClr val="accent3"/>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5" name="Freeform: Shape 14">
            <a:extLst>
              <a:ext uri="{FF2B5EF4-FFF2-40B4-BE49-F238E27FC236}">
                <a16:creationId xmlns:a16="http://schemas.microsoft.com/office/drawing/2014/main" id="{C7C606A3-42F1-4591-B74F-28EA466C0615}"/>
              </a:ext>
            </a:extLst>
          </p:cNvPr>
          <p:cNvSpPr>
            <a:spLocks noChangeArrowheads="1"/>
          </p:cNvSpPr>
          <p:nvPr/>
        </p:nvSpPr>
        <p:spPr bwMode="auto">
          <a:xfrm>
            <a:off x="2980591" y="2149933"/>
            <a:ext cx="1831763" cy="1839584"/>
          </a:xfrm>
          <a:custGeom>
            <a:avLst/>
            <a:gdLst>
              <a:gd name="connsiteX0" fmla="*/ 916265 w 1831763"/>
              <a:gd name="connsiteY0" fmla="*/ 277432 h 1839584"/>
              <a:gd name="connsiteX1" fmla="*/ 597526 w 1831763"/>
              <a:gd name="connsiteY1" fmla="*/ 362795 h 1839584"/>
              <a:gd name="connsiteX2" fmla="*/ 300037 w 1831763"/>
              <a:gd name="connsiteY2" fmla="*/ 755467 h 1839584"/>
              <a:gd name="connsiteX3" fmla="*/ 363785 w 1831763"/>
              <a:gd name="connsiteY3" fmla="*/ 1242039 h 1839584"/>
              <a:gd name="connsiteX4" fmla="*/ 920515 w 1831763"/>
              <a:gd name="connsiteY4" fmla="*/ 1562153 h 1839584"/>
              <a:gd name="connsiteX5" fmla="*/ 1239254 w 1831763"/>
              <a:gd name="connsiteY5" fmla="*/ 1476789 h 1839584"/>
              <a:gd name="connsiteX6" fmla="*/ 1506397 w 1831763"/>
              <a:gd name="connsiteY6" fmla="*/ 1171281 h 1839584"/>
              <a:gd name="connsiteX7" fmla="*/ 1543782 w 1831763"/>
              <a:gd name="connsiteY7" fmla="*/ 1046321 h 1839584"/>
              <a:gd name="connsiteX8" fmla="*/ 1540190 w 1831763"/>
              <a:gd name="connsiteY8" fmla="*/ 1044336 h 1839584"/>
              <a:gd name="connsiteX9" fmla="*/ 1467496 w 1831763"/>
              <a:gd name="connsiteY9" fmla="*/ 601301 h 1839584"/>
              <a:gd name="connsiteX10" fmla="*/ 1116856 w 1831763"/>
              <a:gd name="connsiteY10" fmla="*/ 315883 h 1839584"/>
              <a:gd name="connsiteX11" fmla="*/ 1117087 w 1831763"/>
              <a:gd name="connsiteY11" fmla="*/ 309733 h 1839584"/>
              <a:gd name="connsiteX12" fmla="*/ 1023574 w 1831763"/>
              <a:gd name="connsiteY12" fmla="*/ 286501 h 1839584"/>
              <a:gd name="connsiteX13" fmla="*/ 916265 w 1831763"/>
              <a:gd name="connsiteY13" fmla="*/ 277432 h 1839584"/>
              <a:gd name="connsiteX14" fmla="*/ 916265 w 1831763"/>
              <a:gd name="connsiteY14" fmla="*/ 0 h 1839584"/>
              <a:gd name="connsiteX15" fmla="*/ 1154257 w 1831763"/>
              <a:gd name="connsiteY15" fmla="*/ 29877 h 1839584"/>
              <a:gd name="connsiteX16" fmla="*/ 1153064 w 1831763"/>
              <a:gd name="connsiteY16" fmla="*/ 36678 h 1839584"/>
              <a:gd name="connsiteX17" fmla="*/ 1232069 w 1831763"/>
              <a:gd name="connsiteY17" fmla="*/ 61251 h 1839584"/>
              <a:gd name="connsiteX18" fmla="*/ 1706958 w 1831763"/>
              <a:gd name="connsiteY18" fmla="*/ 464982 h 1839584"/>
              <a:gd name="connsiteX19" fmla="*/ 1819439 w 1831763"/>
              <a:gd name="connsiteY19" fmla="*/ 1073607 h 1839584"/>
              <a:gd name="connsiteX20" fmla="*/ 1801801 w 1831763"/>
              <a:gd name="connsiteY20" fmla="*/ 1155770 h 1839584"/>
              <a:gd name="connsiteX21" fmla="*/ 1804484 w 1831763"/>
              <a:gd name="connsiteY21" fmla="*/ 1156676 h 1839584"/>
              <a:gd name="connsiteX22" fmla="*/ 1375249 w 1831763"/>
              <a:gd name="connsiteY22" fmla="*/ 1720075 h 1839584"/>
              <a:gd name="connsiteX23" fmla="*/ 920515 w 1831763"/>
              <a:gd name="connsiteY23" fmla="*/ 1839584 h 1839584"/>
              <a:gd name="connsiteX24" fmla="*/ 121543 w 1831763"/>
              <a:gd name="connsiteY24" fmla="*/ 1378621 h 1839584"/>
              <a:gd name="connsiteX25" fmla="*/ 461531 w 1831763"/>
              <a:gd name="connsiteY25" fmla="*/ 123777 h 1839584"/>
              <a:gd name="connsiteX26" fmla="*/ 916265 w 1831763"/>
              <a:gd name="connsiteY26" fmla="*/ 0 h 1839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831763" h="1839584">
                <a:moveTo>
                  <a:pt x="916265" y="277432"/>
                </a:moveTo>
                <a:cubicBezTo>
                  <a:pt x="805769" y="277432"/>
                  <a:pt x="695273" y="307309"/>
                  <a:pt x="597526" y="362795"/>
                </a:cubicBezTo>
                <a:cubicBezTo>
                  <a:pt x="448782" y="448159"/>
                  <a:pt x="342535" y="593277"/>
                  <a:pt x="300037" y="755467"/>
                </a:cubicBezTo>
                <a:cubicBezTo>
                  <a:pt x="257538" y="921926"/>
                  <a:pt x="278788" y="1092653"/>
                  <a:pt x="363785" y="1242039"/>
                </a:cubicBezTo>
                <a:cubicBezTo>
                  <a:pt x="478531" y="1438375"/>
                  <a:pt x="691023" y="1562153"/>
                  <a:pt x="920515" y="1562153"/>
                </a:cubicBezTo>
                <a:cubicBezTo>
                  <a:pt x="1031011" y="1562153"/>
                  <a:pt x="1141508" y="1532275"/>
                  <a:pt x="1239254" y="1476789"/>
                </a:cubicBezTo>
                <a:cubicBezTo>
                  <a:pt x="1363562" y="1403163"/>
                  <a:pt x="1454403" y="1295925"/>
                  <a:pt x="1506397" y="1171281"/>
                </a:cubicBezTo>
                <a:lnTo>
                  <a:pt x="1543782" y="1046321"/>
                </a:lnTo>
                <a:lnTo>
                  <a:pt x="1540190" y="1044336"/>
                </a:lnTo>
                <a:cubicBezTo>
                  <a:pt x="1570123" y="899498"/>
                  <a:pt x="1548742" y="741879"/>
                  <a:pt x="1467496" y="601301"/>
                </a:cubicBezTo>
                <a:cubicBezTo>
                  <a:pt x="1390527" y="464982"/>
                  <a:pt x="1262244" y="367003"/>
                  <a:pt x="1116856" y="315883"/>
                </a:cubicBezTo>
                <a:lnTo>
                  <a:pt x="1117087" y="309733"/>
                </a:lnTo>
                <a:lnTo>
                  <a:pt x="1023574" y="286501"/>
                </a:lnTo>
                <a:cubicBezTo>
                  <a:pt x="988513" y="280633"/>
                  <a:pt x="952389" y="277432"/>
                  <a:pt x="916265" y="277432"/>
                </a:cubicBezTo>
                <a:close/>
                <a:moveTo>
                  <a:pt x="916265" y="0"/>
                </a:moveTo>
                <a:cubicBezTo>
                  <a:pt x="997012" y="0"/>
                  <a:pt x="1077759" y="8536"/>
                  <a:pt x="1154257" y="29877"/>
                </a:cubicBezTo>
                <a:lnTo>
                  <a:pt x="1153064" y="36678"/>
                </a:lnTo>
                <a:lnTo>
                  <a:pt x="1232069" y="61251"/>
                </a:lnTo>
                <a:cubicBezTo>
                  <a:pt x="1427742" y="132772"/>
                  <a:pt x="1598452" y="271154"/>
                  <a:pt x="1706958" y="464982"/>
                </a:cubicBezTo>
                <a:cubicBezTo>
                  <a:pt x="1819205" y="655083"/>
                  <a:pt x="1852880" y="871276"/>
                  <a:pt x="1819439" y="1073607"/>
                </a:cubicBezTo>
                <a:lnTo>
                  <a:pt x="1801801" y="1155770"/>
                </a:lnTo>
                <a:lnTo>
                  <a:pt x="1804484" y="1156676"/>
                </a:lnTo>
                <a:cubicBezTo>
                  <a:pt x="1744986" y="1387157"/>
                  <a:pt x="1596242" y="1592030"/>
                  <a:pt x="1375249" y="1720075"/>
                </a:cubicBezTo>
                <a:cubicBezTo>
                  <a:pt x="1230754" y="1801170"/>
                  <a:pt x="1073510" y="1839584"/>
                  <a:pt x="920515" y="1839584"/>
                </a:cubicBezTo>
                <a:cubicBezTo>
                  <a:pt x="601776" y="1839584"/>
                  <a:pt x="291537" y="1677393"/>
                  <a:pt x="121543" y="1378621"/>
                </a:cubicBezTo>
                <a:cubicBezTo>
                  <a:pt x="-129198" y="938999"/>
                  <a:pt x="19547" y="375600"/>
                  <a:pt x="461531" y="123777"/>
                </a:cubicBezTo>
                <a:cubicBezTo>
                  <a:pt x="606026" y="38414"/>
                  <a:pt x="763271" y="0"/>
                  <a:pt x="916265" y="0"/>
                </a:cubicBezTo>
                <a:close/>
              </a:path>
            </a:pathLst>
          </a:custGeom>
          <a:solidFill>
            <a:schemeClr val="accent3">
              <a:alpha val="70000"/>
            </a:schemeClr>
          </a:solidFill>
          <a:ln w="9525" cap="flat">
            <a:no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chor="ctr">
            <a:noAutofit/>
          </a:bodyPr>
          <a:lstStyle/>
          <a:p>
            <a:endParaRPr/>
          </a:p>
        </p:txBody>
      </p:sp>
      <p:sp>
        <p:nvSpPr>
          <p:cNvPr id="14" name="Freeform 127">
            <a:extLst>
              <a:ext uri="{FF2B5EF4-FFF2-40B4-BE49-F238E27FC236}">
                <a16:creationId xmlns:a16="http://schemas.microsoft.com/office/drawing/2014/main" id="{2AFB3E51-DBDA-4B23-B7B1-25E0B5F80A63}"/>
              </a:ext>
            </a:extLst>
          </p:cNvPr>
          <p:cNvSpPr>
            <a:spLocks noChangeArrowheads="1"/>
          </p:cNvSpPr>
          <p:nvPr/>
        </p:nvSpPr>
        <p:spPr bwMode="auto">
          <a:xfrm>
            <a:off x="9971852" y="3241193"/>
            <a:ext cx="2220148" cy="2803413"/>
          </a:xfrm>
          <a:custGeom>
            <a:avLst/>
            <a:gdLst>
              <a:gd name="T0" fmla="*/ 60 w 522"/>
              <a:gd name="T1" fmla="*/ 516 h 655"/>
              <a:gd name="T2" fmla="*/ 355 w 522"/>
              <a:gd name="T3" fmla="*/ 595 h 655"/>
              <a:gd name="T4" fmla="*/ 521 w 522"/>
              <a:gd name="T5" fmla="*/ 499 h 655"/>
              <a:gd name="T6" fmla="*/ 521 w 522"/>
              <a:gd name="T7" fmla="*/ 0 h 655"/>
              <a:gd name="T8" fmla="*/ 139 w 522"/>
              <a:gd name="T9" fmla="*/ 221 h 655"/>
              <a:gd name="T10" fmla="*/ 60 w 522"/>
              <a:gd name="T11" fmla="*/ 516 h 655"/>
            </a:gdLst>
            <a:ahLst/>
            <a:cxnLst>
              <a:cxn ang="0">
                <a:pos x="T0" y="T1"/>
              </a:cxn>
              <a:cxn ang="0">
                <a:pos x="T2" y="T3"/>
              </a:cxn>
              <a:cxn ang="0">
                <a:pos x="T4" y="T5"/>
              </a:cxn>
              <a:cxn ang="0">
                <a:pos x="T6" y="T7"/>
              </a:cxn>
              <a:cxn ang="0">
                <a:pos x="T8" y="T9"/>
              </a:cxn>
              <a:cxn ang="0">
                <a:pos x="T10" y="T11"/>
              </a:cxn>
            </a:cxnLst>
            <a:rect l="0" t="0" r="r" b="b"/>
            <a:pathLst>
              <a:path w="522" h="655">
                <a:moveTo>
                  <a:pt x="60" y="516"/>
                </a:moveTo>
                <a:cubicBezTo>
                  <a:pt x="120" y="619"/>
                  <a:pt x="252" y="654"/>
                  <a:pt x="355" y="595"/>
                </a:cubicBezTo>
                <a:lnTo>
                  <a:pt x="521" y="499"/>
                </a:lnTo>
                <a:lnTo>
                  <a:pt x="521" y="0"/>
                </a:lnTo>
                <a:lnTo>
                  <a:pt x="139" y="221"/>
                </a:lnTo>
                <a:cubicBezTo>
                  <a:pt x="36" y="280"/>
                  <a:pt x="0" y="412"/>
                  <a:pt x="60" y="516"/>
                </a:cubicBezTo>
              </a:path>
            </a:pathLst>
          </a:custGeom>
          <a:solidFill>
            <a:schemeClr val="accent1">
              <a:alpha val="4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2" name="Title 1">
            <a:extLst>
              <a:ext uri="{FF2B5EF4-FFF2-40B4-BE49-F238E27FC236}">
                <a16:creationId xmlns:a16="http://schemas.microsoft.com/office/drawing/2014/main" id="{004DE2BE-1E55-4CBB-AF1C-6949A5F3A0EE}"/>
              </a:ext>
            </a:extLst>
          </p:cNvPr>
          <p:cNvSpPr>
            <a:spLocks noGrp="1"/>
          </p:cNvSpPr>
          <p:nvPr userDrawn="1">
            <p:ph type="title"/>
          </p:nvPr>
        </p:nvSpPr>
        <p:spPr>
          <a:xfrm>
            <a:off x="442914" y="1375616"/>
            <a:ext cx="2709334" cy="2053383"/>
          </a:xfrm>
        </p:spPr>
        <p:txBody>
          <a:bodyPr>
            <a:noAutofit/>
          </a:bodyPr>
          <a:lstStyle>
            <a:lvl1pPr>
              <a:defRPr sz="6000"/>
            </a:lvl1pPr>
          </a:lstStyle>
          <a:p>
            <a:r>
              <a:rPr lang="en-US"/>
              <a:t>Click to edit Master title style</a:t>
            </a:r>
            <a:endParaRPr lang="en-GB" dirty="0"/>
          </a:p>
        </p:txBody>
      </p:sp>
      <p:sp>
        <p:nvSpPr>
          <p:cNvPr id="6" name="Slide Number Placeholder 5">
            <a:extLst>
              <a:ext uri="{FF2B5EF4-FFF2-40B4-BE49-F238E27FC236}">
                <a16:creationId xmlns:a16="http://schemas.microsoft.com/office/drawing/2014/main" id="{E952999F-5742-4BA1-AD85-6F5512D310F6}"/>
              </a:ext>
            </a:extLst>
          </p:cNvPr>
          <p:cNvSpPr>
            <a:spLocks noGrp="1"/>
          </p:cNvSpPr>
          <p:nvPr userDrawn="1">
            <p:ph type="sldNum" sz="quarter" idx="12"/>
          </p:nvPr>
        </p:nvSpPr>
        <p:spPr>
          <a:xfrm>
            <a:off x="11278800" y="6400800"/>
            <a:ext cx="442800" cy="226800"/>
          </a:xfrm>
        </p:spPr>
        <p:txBody>
          <a:bodyPr vert="horz" lIns="0" tIns="0" rIns="0" bIns="0" rtlCol="0" anchor="t" anchorCtr="0">
            <a:noAutofit/>
          </a:bodyPr>
          <a:lstStyle>
            <a:lvl1pPr>
              <a:defRPr lang="en-GB" smtClean="0"/>
            </a:lvl1pPr>
          </a:lstStyle>
          <a:p>
            <a:pPr algn="r">
              <a:lnSpc>
                <a:spcPts val="970"/>
              </a:lnSpc>
            </a:pPr>
            <a:fld id="{24A935F8-6F02-46CF-898B-F9D6B7DB9D8E}" type="slidenum">
              <a:rPr lang="en-GB" smtClean="0"/>
              <a:pPr algn="r">
                <a:lnSpc>
                  <a:spcPts val="970"/>
                </a:lnSpc>
              </a:pPr>
              <a:t>‹#›</a:t>
            </a:fld>
            <a:endParaRPr lang="en-GB"/>
          </a:p>
        </p:txBody>
      </p:sp>
      <p:sp>
        <p:nvSpPr>
          <p:cNvPr id="3" name="Content Placeholder 2">
            <a:extLst>
              <a:ext uri="{FF2B5EF4-FFF2-40B4-BE49-F238E27FC236}">
                <a16:creationId xmlns:a16="http://schemas.microsoft.com/office/drawing/2014/main" id="{CE1BC7D3-BAF4-4886-8107-DC6896636C1B}"/>
              </a:ext>
            </a:extLst>
          </p:cNvPr>
          <p:cNvSpPr>
            <a:spLocks noGrp="1"/>
          </p:cNvSpPr>
          <p:nvPr userDrawn="1">
            <p:ph idx="1"/>
          </p:nvPr>
        </p:nvSpPr>
        <p:spPr>
          <a:xfrm>
            <a:off x="6300316" y="1376364"/>
            <a:ext cx="5448770" cy="478948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271839746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Agenda v2">
    <p:spTree>
      <p:nvGrpSpPr>
        <p:cNvPr id="1" name=""/>
        <p:cNvGrpSpPr/>
        <p:nvPr/>
      </p:nvGrpSpPr>
      <p:grpSpPr>
        <a:xfrm>
          <a:off x="0" y="0"/>
          <a:ext cx="0" cy="0"/>
          <a:chOff x="0" y="0"/>
          <a:chExt cx="0" cy="0"/>
        </a:xfrm>
      </p:grpSpPr>
      <p:sp>
        <p:nvSpPr>
          <p:cNvPr id="9" name="Freeform 121">
            <a:extLst>
              <a:ext uri="{FF2B5EF4-FFF2-40B4-BE49-F238E27FC236}">
                <a16:creationId xmlns:a16="http://schemas.microsoft.com/office/drawing/2014/main" id="{C400EB2C-77E2-47DD-BD49-274D28B48C75}"/>
              </a:ext>
            </a:extLst>
          </p:cNvPr>
          <p:cNvSpPr>
            <a:spLocks noChangeArrowheads="1"/>
          </p:cNvSpPr>
          <p:nvPr/>
        </p:nvSpPr>
        <p:spPr bwMode="auto">
          <a:xfrm>
            <a:off x="4111992" y="2450971"/>
            <a:ext cx="451556" cy="733784"/>
          </a:xfrm>
          <a:custGeom>
            <a:avLst/>
            <a:gdLst>
              <a:gd name="T0" fmla="*/ 99 w 107"/>
              <a:gd name="T1" fmla="*/ 171 h 172"/>
              <a:gd name="T2" fmla="*/ 82 w 107"/>
              <a:gd name="T3" fmla="*/ 67 h 172"/>
              <a:gd name="T4" fmla="*/ 0 w 107"/>
              <a:gd name="T5" fmla="*/ 0 h 172"/>
              <a:gd name="T6" fmla="*/ 29 w 107"/>
              <a:gd name="T7" fmla="*/ 98 h 172"/>
              <a:gd name="T8" fmla="*/ 99 w 107"/>
              <a:gd name="T9" fmla="*/ 171 h 172"/>
            </a:gdLst>
            <a:ahLst/>
            <a:cxnLst>
              <a:cxn ang="0">
                <a:pos x="T0" y="T1"/>
              </a:cxn>
              <a:cxn ang="0">
                <a:pos x="T2" y="T3"/>
              </a:cxn>
              <a:cxn ang="0">
                <a:pos x="T4" y="T5"/>
              </a:cxn>
              <a:cxn ang="0">
                <a:pos x="T6" y="T7"/>
              </a:cxn>
              <a:cxn ang="0">
                <a:pos x="T8" y="T9"/>
              </a:cxn>
            </a:cxnLst>
            <a:rect l="0" t="0" r="r" b="b"/>
            <a:pathLst>
              <a:path w="107" h="172">
                <a:moveTo>
                  <a:pt x="99" y="171"/>
                </a:moveTo>
                <a:cubicBezTo>
                  <a:pt x="106" y="137"/>
                  <a:pt x="101" y="100"/>
                  <a:pt x="82" y="67"/>
                </a:cubicBezTo>
                <a:cubicBezTo>
                  <a:pt x="63" y="35"/>
                  <a:pt x="34" y="12"/>
                  <a:pt x="0" y="0"/>
                </a:cubicBezTo>
                <a:cubicBezTo>
                  <a:pt x="2" y="33"/>
                  <a:pt x="11" y="67"/>
                  <a:pt x="29" y="98"/>
                </a:cubicBezTo>
                <a:cubicBezTo>
                  <a:pt x="47" y="129"/>
                  <a:pt x="71" y="153"/>
                  <a:pt x="99" y="171"/>
                </a:cubicBezTo>
              </a:path>
            </a:pathLst>
          </a:custGeom>
          <a:solidFill>
            <a:schemeClr val="accent4">
              <a:alpha val="40000"/>
            </a:schemeClr>
          </a:solidFill>
          <a:ln>
            <a:noFill/>
          </a:ln>
          <a:effectLst/>
        </p:spPr>
        <p:txBody>
          <a:bodyPr wrap="none" anchor="ctr"/>
          <a:lstStyle/>
          <a:p>
            <a:endParaRPr dirty="0"/>
          </a:p>
        </p:txBody>
      </p:sp>
      <p:sp>
        <p:nvSpPr>
          <p:cNvPr id="10" name="Freeform 122">
            <a:extLst>
              <a:ext uri="{FF2B5EF4-FFF2-40B4-BE49-F238E27FC236}">
                <a16:creationId xmlns:a16="http://schemas.microsoft.com/office/drawing/2014/main" id="{0AEC132E-078C-4D8E-9E36-028C4AE75647}"/>
              </a:ext>
            </a:extLst>
          </p:cNvPr>
          <p:cNvSpPr>
            <a:spLocks noChangeArrowheads="1"/>
          </p:cNvSpPr>
          <p:nvPr/>
        </p:nvSpPr>
        <p:spPr bwMode="auto">
          <a:xfrm>
            <a:off x="4114895" y="1375617"/>
            <a:ext cx="1956741" cy="2013191"/>
          </a:xfrm>
          <a:custGeom>
            <a:avLst/>
            <a:gdLst>
              <a:gd name="T0" fmla="*/ 101 w 457"/>
              <a:gd name="T1" fmla="*/ 60 h 471"/>
              <a:gd name="T2" fmla="*/ 0 w 457"/>
              <a:gd name="T3" fmla="*/ 191 h 471"/>
              <a:gd name="T4" fmla="*/ 131 w 457"/>
              <a:gd name="T5" fmla="*/ 292 h 471"/>
              <a:gd name="T6" fmla="*/ 153 w 457"/>
              <a:gd name="T7" fmla="*/ 455 h 471"/>
              <a:gd name="T8" fmla="*/ 317 w 457"/>
              <a:gd name="T9" fmla="*/ 434 h 471"/>
              <a:gd name="T10" fmla="*/ 396 w 457"/>
              <a:gd name="T11" fmla="*/ 139 h 471"/>
              <a:gd name="T12" fmla="*/ 101 w 457"/>
              <a:gd name="T13" fmla="*/ 60 h 471"/>
            </a:gdLst>
            <a:ahLst/>
            <a:cxnLst>
              <a:cxn ang="0">
                <a:pos x="T0" y="T1"/>
              </a:cxn>
              <a:cxn ang="0">
                <a:pos x="T2" y="T3"/>
              </a:cxn>
              <a:cxn ang="0">
                <a:pos x="T4" y="T5"/>
              </a:cxn>
              <a:cxn ang="0">
                <a:pos x="T6" y="T7"/>
              </a:cxn>
              <a:cxn ang="0">
                <a:pos x="T8" y="T9"/>
              </a:cxn>
              <a:cxn ang="0">
                <a:pos x="T10" y="T11"/>
              </a:cxn>
              <a:cxn ang="0">
                <a:pos x="T12" y="T13"/>
              </a:cxn>
            </a:cxnLst>
            <a:rect l="0" t="0" r="r" b="b"/>
            <a:pathLst>
              <a:path w="457" h="471">
                <a:moveTo>
                  <a:pt x="101" y="60"/>
                </a:moveTo>
                <a:cubicBezTo>
                  <a:pt x="49" y="90"/>
                  <a:pt x="15" y="138"/>
                  <a:pt x="0" y="191"/>
                </a:cubicBezTo>
                <a:cubicBezTo>
                  <a:pt x="54" y="205"/>
                  <a:pt x="101" y="241"/>
                  <a:pt x="131" y="292"/>
                </a:cubicBezTo>
                <a:cubicBezTo>
                  <a:pt x="160" y="344"/>
                  <a:pt x="167" y="402"/>
                  <a:pt x="153" y="455"/>
                </a:cubicBezTo>
                <a:cubicBezTo>
                  <a:pt x="206" y="470"/>
                  <a:pt x="265" y="464"/>
                  <a:pt x="317" y="434"/>
                </a:cubicBezTo>
                <a:cubicBezTo>
                  <a:pt x="420" y="374"/>
                  <a:pt x="456" y="242"/>
                  <a:pt x="396" y="139"/>
                </a:cubicBezTo>
                <a:cubicBezTo>
                  <a:pt x="336" y="36"/>
                  <a:pt x="204" y="0"/>
                  <a:pt x="101" y="60"/>
                </a:cubicBezTo>
              </a:path>
            </a:pathLst>
          </a:custGeom>
          <a:solidFill>
            <a:schemeClr val="accent4">
              <a:alpha val="40000"/>
            </a:schemeClr>
          </a:solidFill>
          <a:ln w="9525" cap="flat">
            <a:noFill/>
            <a:bevel/>
            <a:headEnd/>
            <a:tailEnd/>
          </a:ln>
          <a:effectLst/>
        </p:spPr>
        <p:txBody>
          <a:bodyPr wrap="none" anchor="ctr"/>
          <a:lstStyle/>
          <a:p>
            <a:endParaRPr dirty="0"/>
          </a:p>
        </p:txBody>
      </p:sp>
      <p:sp>
        <p:nvSpPr>
          <p:cNvPr id="11" name="Freeform 123">
            <a:extLst>
              <a:ext uri="{FF2B5EF4-FFF2-40B4-BE49-F238E27FC236}">
                <a16:creationId xmlns:a16="http://schemas.microsoft.com/office/drawing/2014/main" id="{84CDA851-AAD8-447D-A1C1-EF2FB139299E}"/>
              </a:ext>
            </a:extLst>
          </p:cNvPr>
          <p:cNvSpPr>
            <a:spLocks noChangeArrowheads="1"/>
          </p:cNvSpPr>
          <p:nvPr/>
        </p:nvSpPr>
        <p:spPr bwMode="auto">
          <a:xfrm>
            <a:off x="-8459" y="3316452"/>
            <a:ext cx="2709334" cy="3066821"/>
          </a:xfrm>
          <a:custGeom>
            <a:avLst/>
            <a:gdLst>
              <a:gd name="T0" fmla="*/ 572 w 633"/>
              <a:gd name="T1" fmla="*/ 139 h 719"/>
              <a:gd name="T2" fmla="*/ 277 w 633"/>
              <a:gd name="T3" fmla="*/ 60 h 719"/>
              <a:gd name="T4" fmla="*/ 0 w 633"/>
              <a:gd name="T5" fmla="*/ 219 h 719"/>
              <a:gd name="T6" fmla="*/ 0 w 633"/>
              <a:gd name="T7" fmla="*/ 718 h 719"/>
              <a:gd name="T8" fmla="*/ 493 w 633"/>
              <a:gd name="T9" fmla="*/ 434 h 719"/>
              <a:gd name="T10" fmla="*/ 572 w 633"/>
              <a:gd name="T11" fmla="*/ 139 h 719"/>
            </a:gdLst>
            <a:ahLst/>
            <a:cxnLst>
              <a:cxn ang="0">
                <a:pos x="T0" y="T1"/>
              </a:cxn>
              <a:cxn ang="0">
                <a:pos x="T2" y="T3"/>
              </a:cxn>
              <a:cxn ang="0">
                <a:pos x="T4" y="T5"/>
              </a:cxn>
              <a:cxn ang="0">
                <a:pos x="T6" y="T7"/>
              </a:cxn>
              <a:cxn ang="0">
                <a:pos x="T8" y="T9"/>
              </a:cxn>
              <a:cxn ang="0">
                <a:pos x="T10" y="T11"/>
              </a:cxn>
            </a:cxnLst>
            <a:rect l="0" t="0" r="r" b="b"/>
            <a:pathLst>
              <a:path w="633" h="719">
                <a:moveTo>
                  <a:pt x="572" y="139"/>
                </a:moveTo>
                <a:cubicBezTo>
                  <a:pt x="512" y="35"/>
                  <a:pt x="380" y="0"/>
                  <a:pt x="277" y="60"/>
                </a:cubicBezTo>
                <a:lnTo>
                  <a:pt x="0" y="219"/>
                </a:lnTo>
                <a:lnTo>
                  <a:pt x="0" y="718"/>
                </a:lnTo>
                <a:lnTo>
                  <a:pt x="493" y="434"/>
                </a:lnTo>
                <a:cubicBezTo>
                  <a:pt x="596" y="374"/>
                  <a:pt x="632" y="242"/>
                  <a:pt x="572" y="139"/>
                </a:cubicBezTo>
              </a:path>
            </a:pathLst>
          </a:custGeom>
          <a:solidFill>
            <a:schemeClr val="accent4"/>
          </a:solidFill>
          <a:ln>
            <a:noFill/>
          </a:ln>
          <a:effectLst/>
        </p:spPr>
        <p:txBody>
          <a:bodyPr wrap="none" anchor="ctr"/>
          <a:lstStyle/>
          <a:p>
            <a:endParaRPr dirty="0"/>
          </a:p>
        </p:txBody>
      </p:sp>
      <p:sp>
        <p:nvSpPr>
          <p:cNvPr id="15" name="Freeform: Shape 14">
            <a:extLst>
              <a:ext uri="{FF2B5EF4-FFF2-40B4-BE49-F238E27FC236}">
                <a16:creationId xmlns:a16="http://schemas.microsoft.com/office/drawing/2014/main" id="{C7C606A3-42F1-4591-B74F-28EA466C0615}"/>
              </a:ext>
            </a:extLst>
          </p:cNvPr>
          <p:cNvSpPr>
            <a:spLocks noChangeArrowheads="1"/>
          </p:cNvSpPr>
          <p:nvPr/>
        </p:nvSpPr>
        <p:spPr bwMode="auto">
          <a:xfrm>
            <a:off x="2980591" y="2149933"/>
            <a:ext cx="1831763" cy="1839584"/>
          </a:xfrm>
          <a:custGeom>
            <a:avLst/>
            <a:gdLst>
              <a:gd name="connsiteX0" fmla="*/ 916265 w 1831763"/>
              <a:gd name="connsiteY0" fmla="*/ 277432 h 1839584"/>
              <a:gd name="connsiteX1" fmla="*/ 597526 w 1831763"/>
              <a:gd name="connsiteY1" fmla="*/ 362795 h 1839584"/>
              <a:gd name="connsiteX2" fmla="*/ 300037 w 1831763"/>
              <a:gd name="connsiteY2" fmla="*/ 755467 h 1839584"/>
              <a:gd name="connsiteX3" fmla="*/ 363785 w 1831763"/>
              <a:gd name="connsiteY3" fmla="*/ 1242039 h 1839584"/>
              <a:gd name="connsiteX4" fmla="*/ 920515 w 1831763"/>
              <a:gd name="connsiteY4" fmla="*/ 1562153 h 1839584"/>
              <a:gd name="connsiteX5" fmla="*/ 1239254 w 1831763"/>
              <a:gd name="connsiteY5" fmla="*/ 1476789 h 1839584"/>
              <a:gd name="connsiteX6" fmla="*/ 1506397 w 1831763"/>
              <a:gd name="connsiteY6" fmla="*/ 1171281 h 1839584"/>
              <a:gd name="connsiteX7" fmla="*/ 1543782 w 1831763"/>
              <a:gd name="connsiteY7" fmla="*/ 1046321 h 1839584"/>
              <a:gd name="connsiteX8" fmla="*/ 1540190 w 1831763"/>
              <a:gd name="connsiteY8" fmla="*/ 1044336 h 1839584"/>
              <a:gd name="connsiteX9" fmla="*/ 1467496 w 1831763"/>
              <a:gd name="connsiteY9" fmla="*/ 601301 h 1839584"/>
              <a:gd name="connsiteX10" fmla="*/ 1116856 w 1831763"/>
              <a:gd name="connsiteY10" fmla="*/ 315883 h 1839584"/>
              <a:gd name="connsiteX11" fmla="*/ 1117087 w 1831763"/>
              <a:gd name="connsiteY11" fmla="*/ 309733 h 1839584"/>
              <a:gd name="connsiteX12" fmla="*/ 1023574 w 1831763"/>
              <a:gd name="connsiteY12" fmla="*/ 286501 h 1839584"/>
              <a:gd name="connsiteX13" fmla="*/ 916265 w 1831763"/>
              <a:gd name="connsiteY13" fmla="*/ 277432 h 1839584"/>
              <a:gd name="connsiteX14" fmla="*/ 916265 w 1831763"/>
              <a:gd name="connsiteY14" fmla="*/ 0 h 1839584"/>
              <a:gd name="connsiteX15" fmla="*/ 1154257 w 1831763"/>
              <a:gd name="connsiteY15" fmla="*/ 29877 h 1839584"/>
              <a:gd name="connsiteX16" fmla="*/ 1153064 w 1831763"/>
              <a:gd name="connsiteY16" fmla="*/ 36678 h 1839584"/>
              <a:gd name="connsiteX17" fmla="*/ 1232069 w 1831763"/>
              <a:gd name="connsiteY17" fmla="*/ 61251 h 1839584"/>
              <a:gd name="connsiteX18" fmla="*/ 1706958 w 1831763"/>
              <a:gd name="connsiteY18" fmla="*/ 464982 h 1839584"/>
              <a:gd name="connsiteX19" fmla="*/ 1819439 w 1831763"/>
              <a:gd name="connsiteY19" fmla="*/ 1073607 h 1839584"/>
              <a:gd name="connsiteX20" fmla="*/ 1801801 w 1831763"/>
              <a:gd name="connsiteY20" fmla="*/ 1155770 h 1839584"/>
              <a:gd name="connsiteX21" fmla="*/ 1804484 w 1831763"/>
              <a:gd name="connsiteY21" fmla="*/ 1156676 h 1839584"/>
              <a:gd name="connsiteX22" fmla="*/ 1375249 w 1831763"/>
              <a:gd name="connsiteY22" fmla="*/ 1720075 h 1839584"/>
              <a:gd name="connsiteX23" fmla="*/ 920515 w 1831763"/>
              <a:gd name="connsiteY23" fmla="*/ 1839584 h 1839584"/>
              <a:gd name="connsiteX24" fmla="*/ 121543 w 1831763"/>
              <a:gd name="connsiteY24" fmla="*/ 1378621 h 1839584"/>
              <a:gd name="connsiteX25" fmla="*/ 461531 w 1831763"/>
              <a:gd name="connsiteY25" fmla="*/ 123777 h 1839584"/>
              <a:gd name="connsiteX26" fmla="*/ 916265 w 1831763"/>
              <a:gd name="connsiteY26" fmla="*/ 0 h 1839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831763" h="1839584">
                <a:moveTo>
                  <a:pt x="916265" y="277432"/>
                </a:moveTo>
                <a:cubicBezTo>
                  <a:pt x="805769" y="277432"/>
                  <a:pt x="695273" y="307309"/>
                  <a:pt x="597526" y="362795"/>
                </a:cubicBezTo>
                <a:cubicBezTo>
                  <a:pt x="448782" y="448159"/>
                  <a:pt x="342535" y="593277"/>
                  <a:pt x="300037" y="755467"/>
                </a:cubicBezTo>
                <a:cubicBezTo>
                  <a:pt x="257538" y="921926"/>
                  <a:pt x="278788" y="1092653"/>
                  <a:pt x="363785" y="1242039"/>
                </a:cubicBezTo>
                <a:cubicBezTo>
                  <a:pt x="478531" y="1438375"/>
                  <a:pt x="691023" y="1562153"/>
                  <a:pt x="920515" y="1562153"/>
                </a:cubicBezTo>
                <a:cubicBezTo>
                  <a:pt x="1031011" y="1562153"/>
                  <a:pt x="1141508" y="1532275"/>
                  <a:pt x="1239254" y="1476789"/>
                </a:cubicBezTo>
                <a:cubicBezTo>
                  <a:pt x="1363562" y="1403163"/>
                  <a:pt x="1454403" y="1295925"/>
                  <a:pt x="1506397" y="1171281"/>
                </a:cubicBezTo>
                <a:lnTo>
                  <a:pt x="1543782" y="1046321"/>
                </a:lnTo>
                <a:lnTo>
                  <a:pt x="1540190" y="1044336"/>
                </a:lnTo>
                <a:cubicBezTo>
                  <a:pt x="1570123" y="899498"/>
                  <a:pt x="1548742" y="741879"/>
                  <a:pt x="1467496" y="601301"/>
                </a:cubicBezTo>
                <a:cubicBezTo>
                  <a:pt x="1390527" y="464982"/>
                  <a:pt x="1262244" y="367003"/>
                  <a:pt x="1116856" y="315883"/>
                </a:cubicBezTo>
                <a:lnTo>
                  <a:pt x="1117087" y="309733"/>
                </a:lnTo>
                <a:lnTo>
                  <a:pt x="1023574" y="286501"/>
                </a:lnTo>
                <a:cubicBezTo>
                  <a:pt x="988513" y="280633"/>
                  <a:pt x="952389" y="277432"/>
                  <a:pt x="916265" y="277432"/>
                </a:cubicBezTo>
                <a:close/>
                <a:moveTo>
                  <a:pt x="916265" y="0"/>
                </a:moveTo>
                <a:cubicBezTo>
                  <a:pt x="997012" y="0"/>
                  <a:pt x="1077759" y="8536"/>
                  <a:pt x="1154257" y="29877"/>
                </a:cubicBezTo>
                <a:lnTo>
                  <a:pt x="1153064" y="36678"/>
                </a:lnTo>
                <a:lnTo>
                  <a:pt x="1232069" y="61251"/>
                </a:lnTo>
                <a:cubicBezTo>
                  <a:pt x="1427742" y="132772"/>
                  <a:pt x="1598452" y="271154"/>
                  <a:pt x="1706958" y="464982"/>
                </a:cubicBezTo>
                <a:cubicBezTo>
                  <a:pt x="1819205" y="655083"/>
                  <a:pt x="1852880" y="871276"/>
                  <a:pt x="1819439" y="1073607"/>
                </a:cubicBezTo>
                <a:lnTo>
                  <a:pt x="1801801" y="1155770"/>
                </a:lnTo>
                <a:lnTo>
                  <a:pt x="1804484" y="1156676"/>
                </a:lnTo>
                <a:cubicBezTo>
                  <a:pt x="1744986" y="1387157"/>
                  <a:pt x="1596242" y="1592030"/>
                  <a:pt x="1375249" y="1720075"/>
                </a:cubicBezTo>
                <a:cubicBezTo>
                  <a:pt x="1230754" y="1801170"/>
                  <a:pt x="1073510" y="1839584"/>
                  <a:pt x="920515" y="1839584"/>
                </a:cubicBezTo>
                <a:cubicBezTo>
                  <a:pt x="601776" y="1839584"/>
                  <a:pt x="291537" y="1677393"/>
                  <a:pt x="121543" y="1378621"/>
                </a:cubicBezTo>
                <a:cubicBezTo>
                  <a:pt x="-129198" y="938999"/>
                  <a:pt x="19547" y="375600"/>
                  <a:pt x="461531" y="123777"/>
                </a:cubicBezTo>
                <a:cubicBezTo>
                  <a:pt x="606026" y="38414"/>
                  <a:pt x="763271" y="0"/>
                  <a:pt x="916265" y="0"/>
                </a:cubicBezTo>
                <a:close/>
              </a:path>
            </a:pathLst>
          </a:custGeom>
          <a:solidFill>
            <a:schemeClr val="accent4">
              <a:alpha val="70000"/>
            </a:schemeClr>
          </a:solidFill>
          <a:ln w="9525" cap="flat">
            <a:noFill/>
            <a:bevel/>
            <a:headEnd/>
            <a:tailEnd/>
          </a:ln>
          <a:effectLst/>
        </p:spPr>
        <p:txBody>
          <a:bodyPr wrap="square" anchor="ctr">
            <a:noAutofit/>
          </a:bodyPr>
          <a:lstStyle/>
          <a:p>
            <a:endParaRPr/>
          </a:p>
        </p:txBody>
      </p:sp>
      <p:sp>
        <p:nvSpPr>
          <p:cNvPr id="14" name="Freeform 127">
            <a:extLst>
              <a:ext uri="{FF2B5EF4-FFF2-40B4-BE49-F238E27FC236}">
                <a16:creationId xmlns:a16="http://schemas.microsoft.com/office/drawing/2014/main" id="{2AFB3E51-DBDA-4B23-B7B1-25E0B5F80A63}"/>
              </a:ext>
            </a:extLst>
          </p:cNvPr>
          <p:cNvSpPr>
            <a:spLocks noChangeArrowheads="1"/>
          </p:cNvSpPr>
          <p:nvPr/>
        </p:nvSpPr>
        <p:spPr bwMode="auto">
          <a:xfrm>
            <a:off x="9971852" y="3241193"/>
            <a:ext cx="2220148" cy="2803413"/>
          </a:xfrm>
          <a:custGeom>
            <a:avLst/>
            <a:gdLst>
              <a:gd name="T0" fmla="*/ 60 w 522"/>
              <a:gd name="T1" fmla="*/ 516 h 655"/>
              <a:gd name="T2" fmla="*/ 355 w 522"/>
              <a:gd name="T3" fmla="*/ 595 h 655"/>
              <a:gd name="T4" fmla="*/ 521 w 522"/>
              <a:gd name="T5" fmla="*/ 499 h 655"/>
              <a:gd name="T6" fmla="*/ 521 w 522"/>
              <a:gd name="T7" fmla="*/ 0 h 655"/>
              <a:gd name="T8" fmla="*/ 139 w 522"/>
              <a:gd name="T9" fmla="*/ 221 h 655"/>
              <a:gd name="T10" fmla="*/ 60 w 522"/>
              <a:gd name="T11" fmla="*/ 516 h 655"/>
            </a:gdLst>
            <a:ahLst/>
            <a:cxnLst>
              <a:cxn ang="0">
                <a:pos x="T0" y="T1"/>
              </a:cxn>
              <a:cxn ang="0">
                <a:pos x="T2" y="T3"/>
              </a:cxn>
              <a:cxn ang="0">
                <a:pos x="T4" y="T5"/>
              </a:cxn>
              <a:cxn ang="0">
                <a:pos x="T6" y="T7"/>
              </a:cxn>
              <a:cxn ang="0">
                <a:pos x="T8" y="T9"/>
              </a:cxn>
              <a:cxn ang="0">
                <a:pos x="T10" y="T11"/>
              </a:cxn>
            </a:cxnLst>
            <a:rect l="0" t="0" r="r" b="b"/>
            <a:pathLst>
              <a:path w="522" h="655">
                <a:moveTo>
                  <a:pt x="60" y="516"/>
                </a:moveTo>
                <a:cubicBezTo>
                  <a:pt x="120" y="619"/>
                  <a:pt x="252" y="654"/>
                  <a:pt x="355" y="595"/>
                </a:cubicBezTo>
                <a:lnTo>
                  <a:pt x="521" y="499"/>
                </a:lnTo>
                <a:lnTo>
                  <a:pt x="521" y="0"/>
                </a:lnTo>
                <a:lnTo>
                  <a:pt x="139" y="221"/>
                </a:lnTo>
                <a:cubicBezTo>
                  <a:pt x="36" y="280"/>
                  <a:pt x="0" y="412"/>
                  <a:pt x="60" y="516"/>
                </a:cubicBezTo>
              </a:path>
            </a:pathLst>
          </a:custGeom>
          <a:solidFill>
            <a:schemeClr val="accent1">
              <a:alpha val="4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2" name="Title 1">
            <a:extLst>
              <a:ext uri="{FF2B5EF4-FFF2-40B4-BE49-F238E27FC236}">
                <a16:creationId xmlns:a16="http://schemas.microsoft.com/office/drawing/2014/main" id="{004DE2BE-1E55-4CBB-AF1C-6949A5F3A0EE}"/>
              </a:ext>
            </a:extLst>
          </p:cNvPr>
          <p:cNvSpPr>
            <a:spLocks noGrp="1"/>
          </p:cNvSpPr>
          <p:nvPr userDrawn="1">
            <p:ph type="title"/>
          </p:nvPr>
        </p:nvSpPr>
        <p:spPr>
          <a:xfrm>
            <a:off x="442914" y="1375616"/>
            <a:ext cx="2709334" cy="2053383"/>
          </a:xfrm>
        </p:spPr>
        <p:txBody>
          <a:bodyPr>
            <a:noAutofit/>
          </a:bodyPr>
          <a:lstStyle>
            <a:lvl1pPr>
              <a:defRPr sz="6000"/>
            </a:lvl1pPr>
          </a:lstStyle>
          <a:p>
            <a:r>
              <a:rPr lang="en-US"/>
              <a:t>Click to edit Master title style</a:t>
            </a:r>
            <a:endParaRPr lang="en-GB" dirty="0"/>
          </a:p>
        </p:txBody>
      </p:sp>
      <p:sp>
        <p:nvSpPr>
          <p:cNvPr id="6" name="Slide Number Placeholder 5">
            <a:extLst>
              <a:ext uri="{FF2B5EF4-FFF2-40B4-BE49-F238E27FC236}">
                <a16:creationId xmlns:a16="http://schemas.microsoft.com/office/drawing/2014/main" id="{E952999F-5742-4BA1-AD85-6F5512D310F6}"/>
              </a:ext>
            </a:extLst>
          </p:cNvPr>
          <p:cNvSpPr>
            <a:spLocks noGrp="1"/>
          </p:cNvSpPr>
          <p:nvPr userDrawn="1">
            <p:ph type="sldNum" sz="quarter" idx="12"/>
          </p:nvPr>
        </p:nvSpPr>
        <p:spPr>
          <a:xfrm>
            <a:off x="11278800" y="6400800"/>
            <a:ext cx="442800" cy="226800"/>
          </a:xfrm>
        </p:spPr>
        <p:txBody>
          <a:bodyPr vert="horz" lIns="0" tIns="0" rIns="0" bIns="0" rtlCol="0" anchor="t" anchorCtr="0">
            <a:noAutofit/>
          </a:bodyPr>
          <a:lstStyle>
            <a:lvl1pPr>
              <a:defRPr lang="en-GB" smtClean="0"/>
            </a:lvl1pPr>
          </a:lstStyle>
          <a:p>
            <a:pPr algn="r">
              <a:lnSpc>
                <a:spcPts val="970"/>
              </a:lnSpc>
            </a:pPr>
            <a:fld id="{24A935F8-6F02-46CF-898B-F9D6B7DB9D8E}" type="slidenum">
              <a:rPr lang="en-GB" smtClean="0"/>
              <a:pPr algn="r">
                <a:lnSpc>
                  <a:spcPts val="970"/>
                </a:lnSpc>
              </a:pPr>
              <a:t>‹#›</a:t>
            </a:fld>
            <a:endParaRPr lang="en-GB"/>
          </a:p>
        </p:txBody>
      </p:sp>
      <p:sp>
        <p:nvSpPr>
          <p:cNvPr id="3" name="Content Placeholder 2">
            <a:extLst>
              <a:ext uri="{FF2B5EF4-FFF2-40B4-BE49-F238E27FC236}">
                <a16:creationId xmlns:a16="http://schemas.microsoft.com/office/drawing/2014/main" id="{CE1BC7D3-BAF4-4886-8107-DC6896636C1B}"/>
              </a:ext>
            </a:extLst>
          </p:cNvPr>
          <p:cNvSpPr>
            <a:spLocks noGrp="1"/>
          </p:cNvSpPr>
          <p:nvPr userDrawn="1">
            <p:ph idx="1"/>
          </p:nvPr>
        </p:nvSpPr>
        <p:spPr>
          <a:xfrm>
            <a:off x="6300316" y="1376364"/>
            <a:ext cx="5448770" cy="478948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4238672604"/>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heme" Target="../theme/theme1.xml"/><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2.xml"/><Relationship Id="rId3" Type="http://schemas.openxmlformats.org/officeDocument/2006/relationships/slideLayout" Target="../slideLayouts/slideLayout37.xml"/><Relationship Id="rId7" Type="http://schemas.openxmlformats.org/officeDocument/2006/relationships/slideLayout" Target="../slideLayouts/slideLayout41.xml"/><Relationship Id="rId12" Type="http://schemas.openxmlformats.org/officeDocument/2006/relationships/theme" Target="../theme/theme2.xml"/><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5" Type="http://schemas.openxmlformats.org/officeDocument/2006/relationships/slideLayout" Target="../slideLayouts/slideLayout39.xml"/><Relationship Id="rId10" Type="http://schemas.openxmlformats.org/officeDocument/2006/relationships/slideLayout" Target="../slideLayouts/slideLayout44.xml"/><Relationship Id="rId4" Type="http://schemas.openxmlformats.org/officeDocument/2006/relationships/slideLayout" Target="../slideLayouts/slideLayout38.xml"/><Relationship Id="rId9" Type="http://schemas.openxmlformats.org/officeDocument/2006/relationships/slideLayout" Target="../slideLayouts/slideLayout43.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58.xml"/><Relationship Id="rId18" Type="http://schemas.openxmlformats.org/officeDocument/2006/relationships/slideLayout" Target="../slideLayouts/slideLayout63.xml"/><Relationship Id="rId26" Type="http://schemas.openxmlformats.org/officeDocument/2006/relationships/slideLayout" Target="../slideLayouts/slideLayout71.xml"/><Relationship Id="rId3" Type="http://schemas.openxmlformats.org/officeDocument/2006/relationships/slideLayout" Target="../slideLayouts/slideLayout48.xml"/><Relationship Id="rId21" Type="http://schemas.openxmlformats.org/officeDocument/2006/relationships/slideLayout" Target="../slideLayouts/slideLayout66.xml"/><Relationship Id="rId7" Type="http://schemas.openxmlformats.org/officeDocument/2006/relationships/slideLayout" Target="../slideLayouts/slideLayout52.xml"/><Relationship Id="rId12" Type="http://schemas.openxmlformats.org/officeDocument/2006/relationships/slideLayout" Target="../slideLayouts/slideLayout57.xml"/><Relationship Id="rId17" Type="http://schemas.openxmlformats.org/officeDocument/2006/relationships/slideLayout" Target="../slideLayouts/slideLayout62.xml"/><Relationship Id="rId25" Type="http://schemas.openxmlformats.org/officeDocument/2006/relationships/slideLayout" Target="../slideLayouts/slideLayout70.xml"/><Relationship Id="rId33" Type="http://schemas.openxmlformats.org/officeDocument/2006/relationships/theme" Target="../theme/theme3.xml"/><Relationship Id="rId2" Type="http://schemas.openxmlformats.org/officeDocument/2006/relationships/slideLayout" Target="../slideLayouts/slideLayout47.xml"/><Relationship Id="rId16" Type="http://schemas.openxmlformats.org/officeDocument/2006/relationships/slideLayout" Target="../slideLayouts/slideLayout61.xml"/><Relationship Id="rId20" Type="http://schemas.openxmlformats.org/officeDocument/2006/relationships/slideLayout" Target="../slideLayouts/slideLayout65.xml"/><Relationship Id="rId29" Type="http://schemas.openxmlformats.org/officeDocument/2006/relationships/slideLayout" Target="../slideLayouts/slideLayout74.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24" Type="http://schemas.openxmlformats.org/officeDocument/2006/relationships/slideLayout" Target="../slideLayouts/slideLayout69.xml"/><Relationship Id="rId32" Type="http://schemas.openxmlformats.org/officeDocument/2006/relationships/slideLayout" Target="../slideLayouts/slideLayout77.xml"/><Relationship Id="rId5" Type="http://schemas.openxmlformats.org/officeDocument/2006/relationships/slideLayout" Target="../slideLayouts/slideLayout50.xml"/><Relationship Id="rId15" Type="http://schemas.openxmlformats.org/officeDocument/2006/relationships/slideLayout" Target="../slideLayouts/slideLayout60.xml"/><Relationship Id="rId23" Type="http://schemas.openxmlformats.org/officeDocument/2006/relationships/slideLayout" Target="../slideLayouts/slideLayout68.xml"/><Relationship Id="rId28" Type="http://schemas.openxmlformats.org/officeDocument/2006/relationships/slideLayout" Target="../slideLayouts/slideLayout73.xml"/><Relationship Id="rId10" Type="http://schemas.openxmlformats.org/officeDocument/2006/relationships/slideLayout" Target="../slideLayouts/slideLayout55.xml"/><Relationship Id="rId19" Type="http://schemas.openxmlformats.org/officeDocument/2006/relationships/slideLayout" Target="../slideLayouts/slideLayout64.xml"/><Relationship Id="rId31" Type="http://schemas.openxmlformats.org/officeDocument/2006/relationships/slideLayout" Target="../slideLayouts/slideLayout76.xml"/><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slideLayout" Target="../slideLayouts/slideLayout59.xml"/><Relationship Id="rId22" Type="http://schemas.openxmlformats.org/officeDocument/2006/relationships/slideLayout" Target="../slideLayouts/slideLayout67.xml"/><Relationship Id="rId27" Type="http://schemas.openxmlformats.org/officeDocument/2006/relationships/slideLayout" Target="../slideLayouts/slideLayout72.xml"/><Relationship Id="rId30" Type="http://schemas.openxmlformats.org/officeDocument/2006/relationships/slideLayout" Target="../slideLayouts/slideLayout75.xml"/><Relationship Id="rId8" Type="http://schemas.openxmlformats.org/officeDocument/2006/relationships/slideLayout" Target="../slideLayouts/slideLayout5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Freeform 17">
            <a:extLst>
              <a:ext uri="{FF2B5EF4-FFF2-40B4-BE49-F238E27FC236}">
                <a16:creationId xmlns:a16="http://schemas.microsoft.com/office/drawing/2014/main" id="{69B59F74-0BCD-4018-9D30-6598CF3C8E85}"/>
              </a:ext>
            </a:extLst>
          </p:cNvPr>
          <p:cNvSpPr>
            <a:spLocks noChangeArrowheads="1"/>
          </p:cNvSpPr>
          <p:nvPr userDrawn="1"/>
        </p:nvSpPr>
        <p:spPr bwMode="auto">
          <a:xfrm rot="10800000">
            <a:off x="11410391" y="5869697"/>
            <a:ext cx="793668" cy="824524"/>
          </a:xfrm>
          <a:custGeom>
            <a:avLst/>
            <a:gdLst>
              <a:gd name="T0" fmla="*/ 1417 w 1478"/>
              <a:gd name="T1" fmla="*/ 139 h 711"/>
              <a:gd name="T2" fmla="*/ 1122 w 1478"/>
              <a:gd name="T3" fmla="*/ 60 h 711"/>
              <a:gd name="T4" fmla="*/ 24 w 1478"/>
              <a:gd name="T5" fmla="*/ 694 h 711"/>
              <a:gd name="T6" fmla="*/ 0 w 1478"/>
              <a:gd name="T7" fmla="*/ 710 h 711"/>
              <a:gd name="T8" fmla="*/ 859 w 1478"/>
              <a:gd name="T9" fmla="*/ 710 h 711"/>
              <a:gd name="T10" fmla="*/ 1338 w 1478"/>
              <a:gd name="T11" fmla="*/ 434 h 711"/>
              <a:gd name="T12" fmla="*/ 1417 w 1478"/>
              <a:gd name="T13" fmla="*/ 139 h 711"/>
              <a:gd name="connsiteX0" fmla="*/ 9587 w 9785"/>
              <a:gd name="connsiteY0" fmla="*/ 1524 h 10356"/>
              <a:gd name="connsiteX1" fmla="*/ 7591 w 9785"/>
              <a:gd name="connsiteY1" fmla="*/ 413 h 10356"/>
              <a:gd name="connsiteX2" fmla="*/ 162 w 9785"/>
              <a:gd name="connsiteY2" fmla="*/ 9330 h 10356"/>
              <a:gd name="connsiteX3" fmla="*/ 0 w 9785"/>
              <a:gd name="connsiteY3" fmla="*/ 9555 h 10356"/>
              <a:gd name="connsiteX4" fmla="*/ 4999 w 9785"/>
              <a:gd name="connsiteY4" fmla="*/ 10356 h 10356"/>
              <a:gd name="connsiteX5" fmla="*/ 9053 w 9785"/>
              <a:gd name="connsiteY5" fmla="*/ 5673 h 10356"/>
              <a:gd name="connsiteX6" fmla="*/ 9587 w 9785"/>
              <a:gd name="connsiteY6" fmla="*/ 1524 h 10356"/>
              <a:gd name="connsiteX0" fmla="*/ 9636 w 9838"/>
              <a:gd name="connsiteY0" fmla="*/ 1472 h 11892"/>
              <a:gd name="connsiteX1" fmla="*/ 7596 w 9838"/>
              <a:gd name="connsiteY1" fmla="*/ 399 h 11892"/>
              <a:gd name="connsiteX2" fmla="*/ 4 w 9838"/>
              <a:gd name="connsiteY2" fmla="*/ 9009 h 11892"/>
              <a:gd name="connsiteX3" fmla="*/ 625 w 9838"/>
              <a:gd name="connsiteY3" fmla="*/ 11892 h 11892"/>
              <a:gd name="connsiteX4" fmla="*/ 4947 w 9838"/>
              <a:gd name="connsiteY4" fmla="*/ 10000 h 11892"/>
              <a:gd name="connsiteX5" fmla="*/ 9090 w 9838"/>
              <a:gd name="connsiteY5" fmla="*/ 5478 h 11892"/>
              <a:gd name="connsiteX6" fmla="*/ 9636 w 9838"/>
              <a:gd name="connsiteY6" fmla="*/ 1472 h 11892"/>
              <a:gd name="connsiteX0" fmla="*/ 9160 w 9365"/>
              <a:gd name="connsiteY0" fmla="*/ 1238 h 10000"/>
              <a:gd name="connsiteX1" fmla="*/ 7086 w 9365"/>
              <a:gd name="connsiteY1" fmla="*/ 336 h 10000"/>
              <a:gd name="connsiteX2" fmla="*/ 4480 w 9365"/>
              <a:gd name="connsiteY2" fmla="*/ 2661 h 10000"/>
              <a:gd name="connsiteX3" fmla="*/ 0 w 9365"/>
              <a:gd name="connsiteY3" fmla="*/ 10000 h 10000"/>
              <a:gd name="connsiteX4" fmla="*/ 4393 w 9365"/>
              <a:gd name="connsiteY4" fmla="*/ 8409 h 10000"/>
              <a:gd name="connsiteX5" fmla="*/ 8605 w 9365"/>
              <a:gd name="connsiteY5" fmla="*/ 4606 h 10000"/>
              <a:gd name="connsiteX6" fmla="*/ 9160 w 9365"/>
              <a:gd name="connsiteY6" fmla="*/ 1238 h 10000"/>
              <a:gd name="connsiteX0" fmla="*/ 5130 w 5350"/>
              <a:gd name="connsiteY0" fmla="*/ 1238 h 8409"/>
              <a:gd name="connsiteX1" fmla="*/ 2915 w 5350"/>
              <a:gd name="connsiteY1" fmla="*/ 336 h 8409"/>
              <a:gd name="connsiteX2" fmla="*/ 133 w 5350"/>
              <a:gd name="connsiteY2" fmla="*/ 2661 h 8409"/>
              <a:gd name="connsiteX3" fmla="*/ 0 w 5350"/>
              <a:gd name="connsiteY3" fmla="*/ 2482 h 8409"/>
              <a:gd name="connsiteX4" fmla="*/ 40 w 5350"/>
              <a:gd name="connsiteY4" fmla="*/ 8409 h 8409"/>
              <a:gd name="connsiteX5" fmla="*/ 4537 w 5350"/>
              <a:gd name="connsiteY5" fmla="*/ 4606 h 8409"/>
              <a:gd name="connsiteX6" fmla="*/ 5130 w 5350"/>
              <a:gd name="connsiteY6" fmla="*/ 1238 h 8409"/>
              <a:gd name="connsiteX0" fmla="*/ 9521 w 9932"/>
              <a:gd name="connsiteY0" fmla="*/ 1471 h 9999"/>
              <a:gd name="connsiteX1" fmla="*/ 5381 w 9932"/>
              <a:gd name="connsiteY1" fmla="*/ 399 h 9999"/>
              <a:gd name="connsiteX2" fmla="*/ 181 w 9932"/>
              <a:gd name="connsiteY2" fmla="*/ 3163 h 9999"/>
              <a:gd name="connsiteX3" fmla="*/ 19 w 9932"/>
              <a:gd name="connsiteY3" fmla="*/ 5891 h 9999"/>
              <a:gd name="connsiteX4" fmla="*/ 7 w 9932"/>
              <a:gd name="connsiteY4" fmla="*/ 9999 h 9999"/>
              <a:gd name="connsiteX5" fmla="*/ 8412 w 9932"/>
              <a:gd name="connsiteY5" fmla="*/ 5476 h 9999"/>
              <a:gd name="connsiteX6" fmla="*/ 9521 w 9932"/>
              <a:gd name="connsiteY6" fmla="*/ 1471 h 9999"/>
              <a:gd name="connsiteX0" fmla="*/ 9586 w 10000"/>
              <a:gd name="connsiteY0" fmla="*/ 1471 h 10000"/>
              <a:gd name="connsiteX1" fmla="*/ 5418 w 10000"/>
              <a:gd name="connsiteY1" fmla="*/ 399 h 10000"/>
              <a:gd name="connsiteX2" fmla="*/ 95 w 10000"/>
              <a:gd name="connsiteY2" fmla="*/ 3205 h 10000"/>
              <a:gd name="connsiteX3" fmla="*/ 19 w 10000"/>
              <a:gd name="connsiteY3" fmla="*/ 5892 h 10000"/>
              <a:gd name="connsiteX4" fmla="*/ 7 w 10000"/>
              <a:gd name="connsiteY4" fmla="*/ 10000 h 10000"/>
              <a:gd name="connsiteX5" fmla="*/ 8470 w 10000"/>
              <a:gd name="connsiteY5" fmla="*/ 5477 h 10000"/>
              <a:gd name="connsiteX6" fmla="*/ 9586 w 10000"/>
              <a:gd name="connsiteY6" fmla="*/ 147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10000">
                <a:moveTo>
                  <a:pt x="9586" y="1471"/>
                </a:moveTo>
                <a:cubicBezTo>
                  <a:pt x="8753" y="58"/>
                  <a:pt x="6887" y="-417"/>
                  <a:pt x="5418" y="399"/>
                </a:cubicBezTo>
                <a:lnTo>
                  <a:pt x="95" y="3205"/>
                </a:lnTo>
                <a:cubicBezTo>
                  <a:pt x="-35" y="3273"/>
                  <a:pt x="117" y="5810"/>
                  <a:pt x="19" y="5892"/>
                </a:cubicBezTo>
                <a:cubicBezTo>
                  <a:pt x="43" y="8241"/>
                  <a:pt x="-18" y="7650"/>
                  <a:pt x="7" y="10000"/>
                </a:cubicBezTo>
                <a:cubicBezTo>
                  <a:pt x="2263" y="8750"/>
                  <a:pt x="6215" y="6729"/>
                  <a:pt x="8470" y="5477"/>
                </a:cubicBezTo>
                <a:cubicBezTo>
                  <a:pt x="9938" y="4662"/>
                  <a:pt x="10435" y="2870"/>
                  <a:pt x="9586" y="1471"/>
                </a:cubicBezTo>
              </a:path>
            </a:pathLst>
          </a:custGeom>
          <a:solidFill>
            <a:schemeClr val="accent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2" name="Title Placeholder 1">
            <a:extLst>
              <a:ext uri="{FF2B5EF4-FFF2-40B4-BE49-F238E27FC236}">
                <a16:creationId xmlns:a16="http://schemas.microsoft.com/office/drawing/2014/main" id="{35950DDC-9CA7-4F73-8A1E-2DC27E223F15}"/>
              </a:ext>
            </a:extLst>
          </p:cNvPr>
          <p:cNvSpPr>
            <a:spLocks noGrp="1"/>
          </p:cNvSpPr>
          <p:nvPr>
            <p:ph type="title"/>
          </p:nvPr>
        </p:nvSpPr>
        <p:spPr>
          <a:xfrm>
            <a:off x="442913" y="441326"/>
            <a:ext cx="11306175" cy="935038"/>
          </a:xfrm>
          <a:prstGeom prst="rect">
            <a:avLst/>
          </a:prstGeom>
        </p:spPr>
        <p:txBody>
          <a:bodyPr vert="horz" lIns="0" tIns="0" rIns="0" bIns="0" rtlCol="0" anchor="t" anchorCtr="0">
            <a:normAutofit/>
          </a:bodyPr>
          <a:lstStyle/>
          <a:p>
            <a:r>
              <a:rPr lang="en-US"/>
              <a:t>Click to edit Master title style</a:t>
            </a:r>
            <a:endParaRPr lang="en-GB" dirty="0"/>
          </a:p>
        </p:txBody>
      </p:sp>
      <p:sp>
        <p:nvSpPr>
          <p:cNvPr id="3" name="Text Placeholder 2">
            <a:extLst>
              <a:ext uri="{FF2B5EF4-FFF2-40B4-BE49-F238E27FC236}">
                <a16:creationId xmlns:a16="http://schemas.microsoft.com/office/drawing/2014/main" id="{0D2B7C25-69B9-46B1-AB95-F8CF2ADCA628}"/>
              </a:ext>
            </a:extLst>
          </p:cNvPr>
          <p:cNvSpPr>
            <a:spLocks noGrp="1"/>
          </p:cNvSpPr>
          <p:nvPr>
            <p:ph type="body" idx="1"/>
          </p:nvPr>
        </p:nvSpPr>
        <p:spPr>
          <a:xfrm>
            <a:off x="442911" y="1376364"/>
            <a:ext cx="11306175" cy="4789486"/>
          </a:xfrm>
          <a:prstGeom prst="rect">
            <a:avLst/>
          </a:prstGeom>
        </p:spPr>
        <p:txBody>
          <a:bodyPr vert="horz" lIns="0" tIns="0" rIns="0" bIns="0" rtlCol="0" anchor="t" anchorCtr="0">
            <a:normAutofit/>
          </a:bodyPr>
          <a:lstStyle/>
          <a:p>
            <a:pPr lvl="0"/>
            <a:r>
              <a:rPr lang="en-US" dirty="0"/>
              <a:t>First bullet</a:t>
            </a:r>
          </a:p>
          <a:p>
            <a:pPr lvl="1"/>
            <a:r>
              <a:rPr lang="en-US" dirty="0"/>
              <a:t>Second bullet</a:t>
            </a:r>
          </a:p>
          <a:p>
            <a:pPr lvl="2"/>
            <a:r>
              <a:rPr lang="en-US" dirty="0"/>
              <a:t>Third bullet</a:t>
            </a:r>
          </a:p>
          <a:p>
            <a:pPr lvl="3"/>
            <a:r>
              <a:rPr lang="en-US" dirty="0"/>
              <a:t>Plain text</a:t>
            </a:r>
          </a:p>
          <a:p>
            <a:pPr lvl="4"/>
            <a:r>
              <a:rPr lang="en-US" dirty="0"/>
              <a:t>Header</a:t>
            </a:r>
          </a:p>
          <a:p>
            <a:pPr lvl="5"/>
            <a:r>
              <a:rPr lang="en-US" dirty="0"/>
              <a:t>Header - Alt</a:t>
            </a:r>
          </a:p>
          <a:p>
            <a:pPr lvl="6"/>
            <a:r>
              <a:rPr lang="en-US" dirty="0"/>
              <a:t>Enumeration</a:t>
            </a:r>
          </a:p>
          <a:p>
            <a:pPr lvl="7"/>
            <a:r>
              <a:rPr lang="en-US" dirty="0"/>
              <a:t>Alphabet below enumeration</a:t>
            </a:r>
          </a:p>
          <a:p>
            <a:pPr lvl="8"/>
            <a:r>
              <a:rPr lang="en-US" dirty="0"/>
              <a:t>Quote text</a:t>
            </a:r>
            <a:endParaRPr lang="en-GB" dirty="0"/>
          </a:p>
        </p:txBody>
      </p:sp>
      <p:sp>
        <p:nvSpPr>
          <p:cNvPr id="6" name="Slide Number Placeholder 5">
            <a:extLst>
              <a:ext uri="{FF2B5EF4-FFF2-40B4-BE49-F238E27FC236}">
                <a16:creationId xmlns:a16="http://schemas.microsoft.com/office/drawing/2014/main" id="{DC0ABE80-1534-42E6-A6AB-60B9B4F5A031}"/>
              </a:ext>
            </a:extLst>
          </p:cNvPr>
          <p:cNvSpPr>
            <a:spLocks noGrp="1"/>
          </p:cNvSpPr>
          <p:nvPr>
            <p:ph type="sldNum" sz="quarter" idx="4"/>
          </p:nvPr>
        </p:nvSpPr>
        <p:spPr>
          <a:xfrm>
            <a:off x="11278800" y="6400800"/>
            <a:ext cx="442800" cy="226800"/>
          </a:xfrm>
          <a:prstGeom prst="rect">
            <a:avLst/>
          </a:prstGeom>
        </p:spPr>
        <p:txBody>
          <a:bodyPr vert="horz" lIns="0" tIns="0" rIns="0" bIns="0" rtlCol="0" anchor="t" anchorCtr="0">
            <a:noAutofit/>
          </a:bodyPr>
          <a:lstStyle>
            <a:lvl1pPr>
              <a:defRPr lang="en-GB" sz="800" smtClean="0">
                <a:solidFill>
                  <a:schemeClr val="bg1"/>
                </a:solidFill>
              </a:defRPr>
            </a:lvl1pPr>
          </a:lstStyle>
          <a:p>
            <a:pPr algn="r">
              <a:lnSpc>
                <a:spcPts val="970"/>
              </a:lnSpc>
            </a:pPr>
            <a:fld id="{24A935F8-6F02-46CF-898B-F9D6B7DB9D8E}" type="slidenum">
              <a:rPr lang="en-GB" smtClean="0"/>
              <a:pPr algn="r">
                <a:lnSpc>
                  <a:spcPts val="970"/>
                </a:lnSpc>
              </a:pPr>
              <a:t>‹#›</a:t>
            </a:fld>
            <a:endParaRPr lang="en-GB"/>
          </a:p>
        </p:txBody>
      </p:sp>
    </p:spTree>
    <p:extLst>
      <p:ext uri="{BB962C8B-B14F-4D97-AF65-F5344CB8AC3E}">
        <p14:creationId xmlns:p14="http://schemas.microsoft.com/office/powerpoint/2010/main" val="3476994167"/>
      </p:ext>
    </p:extLst>
  </p:cSld>
  <p:clrMap bg1="lt1" tx1="dk1" bg2="lt2" tx2="dk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650" r:id="rId7"/>
    <p:sldLayoutId id="2147483664" r:id="rId8"/>
    <p:sldLayoutId id="2147483665" r:id="rId9"/>
    <p:sldLayoutId id="2147483652" r:id="rId10"/>
    <p:sldLayoutId id="2147483653" r:id="rId11"/>
    <p:sldLayoutId id="2147483651" r:id="rId12"/>
    <p:sldLayoutId id="2147483676" r:id="rId13"/>
    <p:sldLayoutId id="2147483677" r:id="rId14"/>
    <p:sldLayoutId id="2147483662" r:id="rId15"/>
    <p:sldLayoutId id="2147483680" r:id="rId16"/>
    <p:sldLayoutId id="2147483678" r:id="rId17"/>
    <p:sldLayoutId id="2147483679" r:id="rId18"/>
    <p:sldLayoutId id="2147483663" r:id="rId19"/>
    <p:sldLayoutId id="2147483682" r:id="rId20"/>
    <p:sldLayoutId id="2147483654" r:id="rId21"/>
    <p:sldLayoutId id="2147483655" r:id="rId22"/>
    <p:sldLayoutId id="2147483666" r:id="rId23"/>
    <p:sldLayoutId id="2147483667" r:id="rId24"/>
    <p:sldLayoutId id="2147483681" r:id="rId25"/>
    <p:sldLayoutId id="2147483684" r:id="rId26"/>
    <p:sldLayoutId id="2147483685" r:id="rId27"/>
    <p:sldLayoutId id="2147483686" r:id="rId28"/>
    <p:sldLayoutId id="2147483688" r:id="rId29"/>
    <p:sldLayoutId id="2147483689" r:id="rId30"/>
    <p:sldLayoutId id="2147483691" r:id="rId31"/>
    <p:sldLayoutId id="2147483692" r:id="rId32"/>
    <p:sldLayoutId id="2147483693" r:id="rId33"/>
    <p:sldLayoutId id="2147483668" r:id="rId34"/>
  </p:sldLayoutIdLst>
  <p:hf hdr="0" dt="0"/>
  <p:txStyles>
    <p:titleStyle>
      <a:lvl1pPr algn="l" defTabSz="914400" rtl="0" eaLnBrk="1" latinLnBrk="0" hangingPunct="1">
        <a:lnSpc>
          <a:spcPct val="100000"/>
        </a:lnSpc>
        <a:spcBef>
          <a:spcPct val="0"/>
        </a:spcBef>
        <a:buNone/>
        <a:defRPr sz="2800" kern="1200">
          <a:solidFill>
            <a:schemeClr val="accent2"/>
          </a:solidFill>
          <a:latin typeface="+mj-lt"/>
          <a:ea typeface="+mj-ea"/>
          <a:cs typeface="+mj-cs"/>
        </a:defRPr>
      </a:lvl1pPr>
    </p:titleStyle>
    <p:bodyStyle>
      <a:lvl1pPr marL="228600" indent="-228600" algn="l" defTabSz="914400" rtl="0" eaLnBrk="1" latinLnBrk="0" hangingPunct="1">
        <a:lnSpc>
          <a:spcPct val="100000"/>
        </a:lnSpc>
        <a:spcBef>
          <a:spcPts val="1000"/>
        </a:spcBef>
        <a:spcAft>
          <a:spcPts val="600"/>
        </a:spcAft>
        <a:buClr>
          <a:schemeClr val="accent6"/>
        </a:buClr>
        <a:buFont typeface="Arial" panose="020B0604020202020204" pitchFamily="34" charset="0"/>
        <a:buChar char="•"/>
        <a:defRPr sz="2000" kern="1200">
          <a:solidFill>
            <a:schemeClr val="tx2"/>
          </a:solidFill>
          <a:latin typeface="+mn-lt"/>
          <a:ea typeface="+mn-ea"/>
          <a:cs typeface="+mn-cs"/>
        </a:defRPr>
      </a:lvl1pPr>
      <a:lvl2pPr marL="533400" indent="-266700" algn="l" defTabSz="914400" rtl="0" eaLnBrk="1" latinLnBrk="0" hangingPunct="1">
        <a:lnSpc>
          <a:spcPct val="100000"/>
        </a:lnSpc>
        <a:spcBef>
          <a:spcPts val="500"/>
        </a:spcBef>
        <a:spcAft>
          <a:spcPts val="600"/>
        </a:spcAft>
        <a:buClr>
          <a:schemeClr val="accent6"/>
        </a:buClr>
        <a:buFont typeface="Arial" panose="020B0604020202020204" pitchFamily="34" charset="0"/>
        <a:buChar char="•"/>
        <a:defRPr sz="1800" kern="1200">
          <a:solidFill>
            <a:schemeClr val="tx2"/>
          </a:solidFill>
          <a:latin typeface="+mn-lt"/>
          <a:ea typeface="+mn-ea"/>
          <a:cs typeface="+mn-cs"/>
        </a:defRPr>
      </a:lvl2pPr>
      <a:lvl3pPr marL="1143000" indent="-228600" algn="l" defTabSz="914400" rtl="0" eaLnBrk="1" latinLnBrk="0" hangingPunct="1">
        <a:lnSpc>
          <a:spcPct val="100000"/>
        </a:lnSpc>
        <a:spcBef>
          <a:spcPts val="500"/>
        </a:spcBef>
        <a:spcAft>
          <a:spcPts val="600"/>
        </a:spcAft>
        <a:buClr>
          <a:schemeClr val="accent6"/>
        </a:buClr>
        <a:buFont typeface="Arial" panose="020B0604020202020204" pitchFamily="34" charset="0"/>
        <a:buChar char="•"/>
        <a:defRPr sz="1600" kern="1200">
          <a:solidFill>
            <a:schemeClr val="tx2"/>
          </a:solidFill>
          <a:latin typeface="+mn-lt"/>
          <a:ea typeface="+mn-ea"/>
          <a:cs typeface="+mn-cs"/>
        </a:defRPr>
      </a:lvl3pPr>
      <a:lvl4pPr marL="0" indent="0" algn="l" defTabSz="914400" rtl="0" eaLnBrk="1" latinLnBrk="0" hangingPunct="1">
        <a:lnSpc>
          <a:spcPct val="100000"/>
        </a:lnSpc>
        <a:spcBef>
          <a:spcPts val="500"/>
        </a:spcBef>
        <a:spcAft>
          <a:spcPts val="600"/>
        </a:spcAft>
        <a:buClr>
          <a:schemeClr val="accent6"/>
        </a:buClr>
        <a:buFont typeface="Arial" panose="020B0604020202020204" pitchFamily="34" charset="0"/>
        <a:buNone/>
        <a:defRPr sz="2000" kern="1200">
          <a:solidFill>
            <a:schemeClr val="tx2"/>
          </a:solidFill>
          <a:latin typeface="+mn-lt"/>
          <a:ea typeface="+mn-ea"/>
          <a:cs typeface="+mn-cs"/>
        </a:defRPr>
      </a:lvl4pPr>
      <a:lvl5pPr marL="0" indent="0" algn="l" defTabSz="914400" rtl="0" eaLnBrk="1" latinLnBrk="0" hangingPunct="1">
        <a:lnSpc>
          <a:spcPct val="100000"/>
        </a:lnSpc>
        <a:spcBef>
          <a:spcPts val="500"/>
        </a:spcBef>
        <a:spcAft>
          <a:spcPts val="600"/>
        </a:spcAft>
        <a:buClr>
          <a:schemeClr val="accent6"/>
        </a:buClr>
        <a:buFont typeface="Arial" panose="020B0604020202020204" pitchFamily="34" charset="0"/>
        <a:buNone/>
        <a:defRPr sz="2000" b="1" kern="1200">
          <a:solidFill>
            <a:schemeClr val="tx2"/>
          </a:solidFill>
          <a:latin typeface="+mn-lt"/>
          <a:ea typeface="+mn-ea"/>
          <a:cs typeface="+mn-cs"/>
        </a:defRPr>
      </a:lvl5pPr>
      <a:lvl6pPr marL="0" indent="0" algn="l" defTabSz="914400" rtl="0" eaLnBrk="1" latinLnBrk="0" hangingPunct="1">
        <a:lnSpc>
          <a:spcPct val="100000"/>
        </a:lnSpc>
        <a:spcBef>
          <a:spcPts val="500"/>
        </a:spcBef>
        <a:buFont typeface="Arial" panose="020B0604020202020204" pitchFamily="34" charset="0"/>
        <a:buNone/>
        <a:defRPr sz="2000" kern="1200">
          <a:solidFill>
            <a:schemeClr val="accent2"/>
          </a:solidFill>
          <a:latin typeface="+mn-lt"/>
          <a:ea typeface="+mn-ea"/>
          <a:cs typeface="+mn-cs"/>
        </a:defRPr>
      </a:lvl6pPr>
      <a:lvl7pPr marL="457200" indent="-457200" algn="l" defTabSz="914400" rtl="0" eaLnBrk="1" latinLnBrk="0" hangingPunct="1">
        <a:lnSpc>
          <a:spcPct val="100000"/>
        </a:lnSpc>
        <a:spcBef>
          <a:spcPts val="500"/>
        </a:spcBef>
        <a:buClr>
          <a:schemeClr val="accent2"/>
        </a:buClr>
        <a:buFont typeface="+mj-lt"/>
        <a:buAutoNum type="arabicPeriod"/>
        <a:defRPr sz="2000" kern="1200">
          <a:solidFill>
            <a:schemeClr val="tx1"/>
          </a:solidFill>
          <a:latin typeface="+mn-lt"/>
          <a:ea typeface="+mn-ea"/>
          <a:cs typeface="+mn-cs"/>
        </a:defRPr>
      </a:lvl7pPr>
      <a:lvl8pPr marL="447675" indent="-447675" algn="l" defTabSz="914400" rtl="0" eaLnBrk="1" latinLnBrk="0" hangingPunct="1">
        <a:lnSpc>
          <a:spcPct val="100000"/>
        </a:lnSpc>
        <a:spcBef>
          <a:spcPts val="500"/>
        </a:spcBef>
        <a:buClr>
          <a:schemeClr val="accent2"/>
        </a:buClr>
        <a:buFont typeface="+mj-lt"/>
        <a:buAutoNum type="alphaLcPeriod"/>
        <a:defRPr sz="2000" kern="1200">
          <a:solidFill>
            <a:schemeClr val="tx1"/>
          </a:solidFill>
          <a:latin typeface="+mn-lt"/>
          <a:ea typeface="+mn-ea"/>
          <a:cs typeface="+mn-cs"/>
        </a:defRPr>
      </a:lvl8pPr>
      <a:lvl9pPr marL="0" indent="0" algn="l" defTabSz="914400" rtl="0" eaLnBrk="1" latinLnBrk="0" hangingPunct="1">
        <a:lnSpc>
          <a:spcPct val="100000"/>
        </a:lnSpc>
        <a:spcBef>
          <a:spcPts val="500"/>
        </a:spcBef>
        <a:buFont typeface="Arial" panose="020B0604020202020204" pitchFamily="34" charset="0"/>
        <a:buNone/>
        <a:defRPr sz="1800" i="1"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F26B43"/>
          </p15:clr>
        </p15:guide>
        <p15:guide id="2" orient="horz" pos="2160" userDrawn="1">
          <p15:clr>
            <a:srgbClr val="F26B43"/>
          </p15:clr>
        </p15:guide>
        <p15:guide id="3" orient="horz" pos="278" userDrawn="1">
          <p15:clr>
            <a:srgbClr val="F26B43"/>
          </p15:clr>
        </p15:guide>
        <p15:guide id="4" orient="horz" pos="3884" userDrawn="1">
          <p15:clr>
            <a:srgbClr val="F26B43"/>
          </p15:clr>
        </p15:guide>
        <p15:guide id="5" pos="279" userDrawn="1">
          <p15:clr>
            <a:srgbClr val="F26B43"/>
          </p15:clr>
        </p15:guide>
        <p15:guide id="6" pos="7401" userDrawn="1">
          <p15:clr>
            <a:srgbClr val="F26B43"/>
          </p15:clr>
        </p15:guide>
        <p15:guide id="7" orient="horz" pos="867"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34647973"/>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 id="2147483702" r:id="rId5"/>
    <p:sldLayoutId id="2147483703" r:id="rId6"/>
    <p:sldLayoutId id="2147483704" r:id="rId7"/>
    <p:sldLayoutId id="2147483705" r:id="rId8"/>
    <p:sldLayoutId id="2147483706" r:id="rId9"/>
    <p:sldLayoutId id="2147483707" r:id="rId10"/>
    <p:sldLayoutId id="2147483708"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Freeform 17">
            <a:extLst>
              <a:ext uri="{FF2B5EF4-FFF2-40B4-BE49-F238E27FC236}">
                <a16:creationId xmlns:a16="http://schemas.microsoft.com/office/drawing/2014/main" id="{69B59F74-0BCD-4018-9D30-6598CF3C8E85}"/>
              </a:ext>
            </a:extLst>
          </p:cNvPr>
          <p:cNvSpPr>
            <a:spLocks noChangeArrowheads="1"/>
          </p:cNvSpPr>
          <p:nvPr userDrawn="1"/>
        </p:nvSpPr>
        <p:spPr bwMode="auto">
          <a:xfrm rot="10800000">
            <a:off x="11410391" y="5869697"/>
            <a:ext cx="793668" cy="824524"/>
          </a:xfrm>
          <a:custGeom>
            <a:avLst/>
            <a:gdLst>
              <a:gd name="T0" fmla="*/ 1417 w 1478"/>
              <a:gd name="T1" fmla="*/ 139 h 711"/>
              <a:gd name="T2" fmla="*/ 1122 w 1478"/>
              <a:gd name="T3" fmla="*/ 60 h 711"/>
              <a:gd name="T4" fmla="*/ 24 w 1478"/>
              <a:gd name="T5" fmla="*/ 694 h 711"/>
              <a:gd name="T6" fmla="*/ 0 w 1478"/>
              <a:gd name="T7" fmla="*/ 710 h 711"/>
              <a:gd name="T8" fmla="*/ 859 w 1478"/>
              <a:gd name="T9" fmla="*/ 710 h 711"/>
              <a:gd name="T10" fmla="*/ 1338 w 1478"/>
              <a:gd name="T11" fmla="*/ 434 h 711"/>
              <a:gd name="T12" fmla="*/ 1417 w 1478"/>
              <a:gd name="T13" fmla="*/ 139 h 711"/>
              <a:gd name="connsiteX0" fmla="*/ 9587 w 9785"/>
              <a:gd name="connsiteY0" fmla="*/ 1524 h 10356"/>
              <a:gd name="connsiteX1" fmla="*/ 7591 w 9785"/>
              <a:gd name="connsiteY1" fmla="*/ 413 h 10356"/>
              <a:gd name="connsiteX2" fmla="*/ 162 w 9785"/>
              <a:gd name="connsiteY2" fmla="*/ 9330 h 10356"/>
              <a:gd name="connsiteX3" fmla="*/ 0 w 9785"/>
              <a:gd name="connsiteY3" fmla="*/ 9555 h 10356"/>
              <a:gd name="connsiteX4" fmla="*/ 4999 w 9785"/>
              <a:gd name="connsiteY4" fmla="*/ 10356 h 10356"/>
              <a:gd name="connsiteX5" fmla="*/ 9053 w 9785"/>
              <a:gd name="connsiteY5" fmla="*/ 5673 h 10356"/>
              <a:gd name="connsiteX6" fmla="*/ 9587 w 9785"/>
              <a:gd name="connsiteY6" fmla="*/ 1524 h 10356"/>
              <a:gd name="connsiteX0" fmla="*/ 9636 w 9838"/>
              <a:gd name="connsiteY0" fmla="*/ 1472 h 11892"/>
              <a:gd name="connsiteX1" fmla="*/ 7596 w 9838"/>
              <a:gd name="connsiteY1" fmla="*/ 399 h 11892"/>
              <a:gd name="connsiteX2" fmla="*/ 4 w 9838"/>
              <a:gd name="connsiteY2" fmla="*/ 9009 h 11892"/>
              <a:gd name="connsiteX3" fmla="*/ 625 w 9838"/>
              <a:gd name="connsiteY3" fmla="*/ 11892 h 11892"/>
              <a:gd name="connsiteX4" fmla="*/ 4947 w 9838"/>
              <a:gd name="connsiteY4" fmla="*/ 10000 h 11892"/>
              <a:gd name="connsiteX5" fmla="*/ 9090 w 9838"/>
              <a:gd name="connsiteY5" fmla="*/ 5478 h 11892"/>
              <a:gd name="connsiteX6" fmla="*/ 9636 w 9838"/>
              <a:gd name="connsiteY6" fmla="*/ 1472 h 11892"/>
              <a:gd name="connsiteX0" fmla="*/ 9160 w 9365"/>
              <a:gd name="connsiteY0" fmla="*/ 1238 h 10000"/>
              <a:gd name="connsiteX1" fmla="*/ 7086 w 9365"/>
              <a:gd name="connsiteY1" fmla="*/ 336 h 10000"/>
              <a:gd name="connsiteX2" fmla="*/ 4480 w 9365"/>
              <a:gd name="connsiteY2" fmla="*/ 2661 h 10000"/>
              <a:gd name="connsiteX3" fmla="*/ 0 w 9365"/>
              <a:gd name="connsiteY3" fmla="*/ 10000 h 10000"/>
              <a:gd name="connsiteX4" fmla="*/ 4393 w 9365"/>
              <a:gd name="connsiteY4" fmla="*/ 8409 h 10000"/>
              <a:gd name="connsiteX5" fmla="*/ 8605 w 9365"/>
              <a:gd name="connsiteY5" fmla="*/ 4606 h 10000"/>
              <a:gd name="connsiteX6" fmla="*/ 9160 w 9365"/>
              <a:gd name="connsiteY6" fmla="*/ 1238 h 10000"/>
              <a:gd name="connsiteX0" fmla="*/ 5130 w 5350"/>
              <a:gd name="connsiteY0" fmla="*/ 1238 h 8409"/>
              <a:gd name="connsiteX1" fmla="*/ 2915 w 5350"/>
              <a:gd name="connsiteY1" fmla="*/ 336 h 8409"/>
              <a:gd name="connsiteX2" fmla="*/ 133 w 5350"/>
              <a:gd name="connsiteY2" fmla="*/ 2661 h 8409"/>
              <a:gd name="connsiteX3" fmla="*/ 0 w 5350"/>
              <a:gd name="connsiteY3" fmla="*/ 2482 h 8409"/>
              <a:gd name="connsiteX4" fmla="*/ 40 w 5350"/>
              <a:gd name="connsiteY4" fmla="*/ 8409 h 8409"/>
              <a:gd name="connsiteX5" fmla="*/ 4537 w 5350"/>
              <a:gd name="connsiteY5" fmla="*/ 4606 h 8409"/>
              <a:gd name="connsiteX6" fmla="*/ 5130 w 5350"/>
              <a:gd name="connsiteY6" fmla="*/ 1238 h 8409"/>
              <a:gd name="connsiteX0" fmla="*/ 9521 w 9932"/>
              <a:gd name="connsiteY0" fmla="*/ 1471 h 9999"/>
              <a:gd name="connsiteX1" fmla="*/ 5381 w 9932"/>
              <a:gd name="connsiteY1" fmla="*/ 399 h 9999"/>
              <a:gd name="connsiteX2" fmla="*/ 181 w 9932"/>
              <a:gd name="connsiteY2" fmla="*/ 3163 h 9999"/>
              <a:gd name="connsiteX3" fmla="*/ 19 w 9932"/>
              <a:gd name="connsiteY3" fmla="*/ 5891 h 9999"/>
              <a:gd name="connsiteX4" fmla="*/ 7 w 9932"/>
              <a:gd name="connsiteY4" fmla="*/ 9999 h 9999"/>
              <a:gd name="connsiteX5" fmla="*/ 8412 w 9932"/>
              <a:gd name="connsiteY5" fmla="*/ 5476 h 9999"/>
              <a:gd name="connsiteX6" fmla="*/ 9521 w 9932"/>
              <a:gd name="connsiteY6" fmla="*/ 1471 h 9999"/>
              <a:gd name="connsiteX0" fmla="*/ 9586 w 10000"/>
              <a:gd name="connsiteY0" fmla="*/ 1471 h 10000"/>
              <a:gd name="connsiteX1" fmla="*/ 5418 w 10000"/>
              <a:gd name="connsiteY1" fmla="*/ 399 h 10000"/>
              <a:gd name="connsiteX2" fmla="*/ 95 w 10000"/>
              <a:gd name="connsiteY2" fmla="*/ 3205 h 10000"/>
              <a:gd name="connsiteX3" fmla="*/ 19 w 10000"/>
              <a:gd name="connsiteY3" fmla="*/ 5892 h 10000"/>
              <a:gd name="connsiteX4" fmla="*/ 7 w 10000"/>
              <a:gd name="connsiteY4" fmla="*/ 10000 h 10000"/>
              <a:gd name="connsiteX5" fmla="*/ 8470 w 10000"/>
              <a:gd name="connsiteY5" fmla="*/ 5477 h 10000"/>
              <a:gd name="connsiteX6" fmla="*/ 9586 w 10000"/>
              <a:gd name="connsiteY6" fmla="*/ 147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10000">
                <a:moveTo>
                  <a:pt x="9586" y="1471"/>
                </a:moveTo>
                <a:cubicBezTo>
                  <a:pt x="8753" y="58"/>
                  <a:pt x="6887" y="-417"/>
                  <a:pt x="5418" y="399"/>
                </a:cubicBezTo>
                <a:lnTo>
                  <a:pt x="95" y="3205"/>
                </a:lnTo>
                <a:cubicBezTo>
                  <a:pt x="-35" y="3273"/>
                  <a:pt x="117" y="5810"/>
                  <a:pt x="19" y="5892"/>
                </a:cubicBezTo>
                <a:cubicBezTo>
                  <a:pt x="43" y="8241"/>
                  <a:pt x="-18" y="7650"/>
                  <a:pt x="7" y="10000"/>
                </a:cubicBezTo>
                <a:cubicBezTo>
                  <a:pt x="2263" y="8750"/>
                  <a:pt x="6215" y="6729"/>
                  <a:pt x="8470" y="5477"/>
                </a:cubicBezTo>
                <a:cubicBezTo>
                  <a:pt x="9938" y="4662"/>
                  <a:pt x="10435" y="2870"/>
                  <a:pt x="9586" y="1471"/>
                </a:cubicBezTo>
              </a:path>
            </a:pathLst>
          </a:custGeom>
          <a:solidFill>
            <a:schemeClr val="accent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2" name="Title Placeholder 1">
            <a:extLst>
              <a:ext uri="{FF2B5EF4-FFF2-40B4-BE49-F238E27FC236}">
                <a16:creationId xmlns:a16="http://schemas.microsoft.com/office/drawing/2014/main" id="{35950DDC-9CA7-4F73-8A1E-2DC27E223F15}"/>
              </a:ext>
            </a:extLst>
          </p:cNvPr>
          <p:cNvSpPr>
            <a:spLocks noGrp="1"/>
          </p:cNvSpPr>
          <p:nvPr>
            <p:ph type="title"/>
          </p:nvPr>
        </p:nvSpPr>
        <p:spPr>
          <a:xfrm>
            <a:off x="442913" y="441326"/>
            <a:ext cx="11306175" cy="935038"/>
          </a:xfrm>
          <a:prstGeom prst="rect">
            <a:avLst/>
          </a:prstGeom>
        </p:spPr>
        <p:txBody>
          <a:bodyPr vert="horz" lIns="0" tIns="0" rIns="0" bIns="0" rtlCol="0" anchor="t" anchorCtr="0">
            <a:normAutofit/>
          </a:bodyPr>
          <a:lstStyle/>
          <a:p>
            <a:r>
              <a:rPr lang="en-US" dirty="0"/>
              <a:t>Click to edit Master title style</a:t>
            </a:r>
            <a:endParaRPr lang="en-GB" dirty="0"/>
          </a:p>
        </p:txBody>
      </p:sp>
      <p:sp>
        <p:nvSpPr>
          <p:cNvPr id="3" name="Text Placeholder 2">
            <a:extLst>
              <a:ext uri="{FF2B5EF4-FFF2-40B4-BE49-F238E27FC236}">
                <a16:creationId xmlns:a16="http://schemas.microsoft.com/office/drawing/2014/main" id="{0D2B7C25-69B9-46B1-AB95-F8CF2ADCA628}"/>
              </a:ext>
            </a:extLst>
          </p:cNvPr>
          <p:cNvSpPr>
            <a:spLocks noGrp="1"/>
          </p:cNvSpPr>
          <p:nvPr>
            <p:ph type="body" idx="1"/>
          </p:nvPr>
        </p:nvSpPr>
        <p:spPr>
          <a:xfrm>
            <a:off x="442911" y="1376364"/>
            <a:ext cx="11306175" cy="4789486"/>
          </a:xfrm>
          <a:prstGeom prst="rect">
            <a:avLst/>
          </a:prstGeom>
        </p:spPr>
        <p:txBody>
          <a:bodyPr vert="horz" lIns="0" tIns="0" rIns="0" bIns="0" rtlCol="0" anchor="t" anchorCtr="0">
            <a:normAutofit/>
          </a:bodyPr>
          <a:lstStyle/>
          <a:p>
            <a:pPr lvl="0"/>
            <a:r>
              <a:rPr lang="en-US" dirty="0"/>
              <a:t>First bullet</a:t>
            </a:r>
          </a:p>
          <a:p>
            <a:pPr lvl="1"/>
            <a:r>
              <a:rPr lang="en-US" dirty="0"/>
              <a:t>Second bullet</a:t>
            </a:r>
          </a:p>
          <a:p>
            <a:pPr lvl="2"/>
            <a:r>
              <a:rPr lang="en-US" dirty="0"/>
              <a:t>Third bullet</a:t>
            </a:r>
          </a:p>
          <a:p>
            <a:pPr lvl="3"/>
            <a:r>
              <a:rPr lang="en-US" dirty="0"/>
              <a:t>Plain text</a:t>
            </a:r>
          </a:p>
          <a:p>
            <a:pPr lvl="4"/>
            <a:r>
              <a:rPr lang="en-US" dirty="0"/>
              <a:t>Header</a:t>
            </a:r>
          </a:p>
          <a:p>
            <a:pPr lvl="5"/>
            <a:r>
              <a:rPr lang="en-US" dirty="0"/>
              <a:t>Header - Alt</a:t>
            </a:r>
          </a:p>
          <a:p>
            <a:pPr lvl="6"/>
            <a:r>
              <a:rPr lang="en-US" dirty="0"/>
              <a:t>Enumeration</a:t>
            </a:r>
          </a:p>
          <a:p>
            <a:pPr lvl="7"/>
            <a:r>
              <a:rPr lang="en-US" dirty="0"/>
              <a:t>Alphabet below enumeration</a:t>
            </a:r>
          </a:p>
          <a:p>
            <a:pPr lvl="8"/>
            <a:r>
              <a:rPr lang="en-US" dirty="0"/>
              <a:t>Quote text</a:t>
            </a:r>
            <a:endParaRPr lang="en-GB" dirty="0"/>
          </a:p>
        </p:txBody>
      </p:sp>
      <p:sp>
        <p:nvSpPr>
          <p:cNvPr id="6" name="Slide Number Placeholder 5">
            <a:extLst>
              <a:ext uri="{FF2B5EF4-FFF2-40B4-BE49-F238E27FC236}">
                <a16:creationId xmlns:a16="http://schemas.microsoft.com/office/drawing/2014/main" id="{DC0ABE80-1534-42E6-A6AB-60B9B4F5A031}"/>
              </a:ext>
            </a:extLst>
          </p:cNvPr>
          <p:cNvSpPr>
            <a:spLocks noGrp="1"/>
          </p:cNvSpPr>
          <p:nvPr>
            <p:ph type="sldNum" sz="quarter" idx="4"/>
          </p:nvPr>
        </p:nvSpPr>
        <p:spPr>
          <a:xfrm>
            <a:off x="11278800" y="6400800"/>
            <a:ext cx="442800" cy="226800"/>
          </a:xfrm>
          <a:prstGeom prst="rect">
            <a:avLst/>
          </a:prstGeom>
        </p:spPr>
        <p:txBody>
          <a:bodyPr vert="horz" lIns="0" tIns="0" rIns="0" bIns="0" rtlCol="0" anchor="t" anchorCtr="0">
            <a:noAutofit/>
          </a:bodyPr>
          <a:lstStyle>
            <a:lvl1pPr>
              <a:defRPr lang="en-GB" sz="800" smtClean="0">
                <a:solidFill>
                  <a:schemeClr val="bg1"/>
                </a:solidFill>
              </a:defRPr>
            </a:lvl1pPr>
          </a:lstStyle>
          <a:p>
            <a:pPr algn="r">
              <a:lnSpc>
                <a:spcPts val="970"/>
              </a:lnSpc>
            </a:pPr>
            <a:fld id="{24A935F8-6F02-46CF-898B-F9D6B7DB9D8E}" type="slidenum">
              <a:rPr lang="en-GB" smtClean="0"/>
              <a:pPr algn="r">
                <a:lnSpc>
                  <a:spcPts val="970"/>
                </a:lnSpc>
              </a:pPr>
              <a:t>‹#›</a:t>
            </a:fld>
            <a:endParaRPr lang="en-GB"/>
          </a:p>
        </p:txBody>
      </p:sp>
      <p:sp>
        <p:nvSpPr>
          <p:cNvPr id="10" name="Rechthoek 2">
            <a:extLst>
              <a:ext uri="{FF2B5EF4-FFF2-40B4-BE49-F238E27FC236}">
                <a16:creationId xmlns:a16="http://schemas.microsoft.com/office/drawing/2014/main" id="{BE02B695-C4F6-2A4A-A4AA-23CD7C3BD2C9}"/>
              </a:ext>
            </a:extLst>
          </p:cNvPr>
          <p:cNvSpPr/>
          <p:nvPr userDrawn="1"/>
        </p:nvSpPr>
        <p:spPr>
          <a:xfrm>
            <a:off x="10002839" y="143250"/>
            <a:ext cx="1633781"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accent4"/>
                </a:solidFill>
                <a:effectLst/>
                <a:uLnTx/>
                <a:uFillTx/>
                <a:latin typeface="+mn-lt"/>
                <a:ea typeface="+mn-ea"/>
                <a:cs typeface="+mn-cs"/>
              </a:rPr>
              <a:t>Colt confidential</a:t>
            </a:r>
          </a:p>
        </p:txBody>
      </p:sp>
    </p:spTree>
    <p:extLst>
      <p:ext uri="{BB962C8B-B14F-4D97-AF65-F5344CB8AC3E}">
        <p14:creationId xmlns:p14="http://schemas.microsoft.com/office/powerpoint/2010/main" val="1837734534"/>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 id="2147483724" r:id="rId9"/>
    <p:sldLayoutId id="2147483725" r:id="rId10"/>
    <p:sldLayoutId id="2147483726" r:id="rId11"/>
    <p:sldLayoutId id="2147483727" r:id="rId12"/>
    <p:sldLayoutId id="2147483728" r:id="rId13"/>
    <p:sldLayoutId id="2147483729" r:id="rId14"/>
    <p:sldLayoutId id="2147483730" r:id="rId15"/>
    <p:sldLayoutId id="2147483731" r:id="rId16"/>
    <p:sldLayoutId id="2147483732" r:id="rId17"/>
    <p:sldLayoutId id="2147483733" r:id="rId18"/>
    <p:sldLayoutId id="2147483734" r:id="rId19"/>
    <p:sldLayoutId id="2147483735" r:id="rId20"/>
    <p:sldLayoutId id="2147483736" r:id="rId21"/>
    <p:sldLayoutId id="2147483737" r:id="rId22"/>
    <p:sldLayoutId id="2147483738" r:id="rId23"/>
    <p:sldLayoutId id="2147483739" r:id="rId24"/>
    <p:sldLayoutId id="2147483740" r:id="rId25"/>
    <p:sldLayoutId id="2147483741" r:id="rId26"/>
    <p:sldLayoutId id="2147483742" r:id="rId27"/>
    <p:sldLayoutId id="2147483743" r:id="rId28"/>
    <p:sldLayoutId id="2147483744" r:id="rId29"/>
    <p:sldLayoutId id="2147483745" r:id="rId30"/>
    <p:sldLayoutId id="2147483746" r:id="rId31"/>
    <p:sldLayoutId id="2147483747" r:id="rId32"/>
  </p:sldLayoutIdLst>
  <p:hf hdr="0" dt="0"/>
  <p:txStyles>
    <p:titleStyle>
      <a:lvl1pPr algn="l" defTabSz="914400" rtl="0" eaLnBrk="1" latinLnBrk="0" hangingPunct="1">
        <a:lnSpc>
          <a:spcPct val="100000"/>
        </a:lnSpc>
        <a:spcBef>
          <a:spcPct val="0"/>
        </a:spcBef>
        <a:buNone/>
        <a:defRPr sz="2800" kern="1200">
          <a:solidFill>
            <a:schemeClr val="accent2"/>
          </a:solidFill>
          <a:latin typeface="+mj-lt"/>
          <a:ea typeface="+mj-ea"/>
          <a:cs typeface="+mj-cs"/>
        </a:defRPr>
      </a:lvl1pPr>
    </p:titleStyle>
    <p:bodyStyle>
      <a:lvl1pPr marL="228600" indent="-228600" algn="l" defTabSz="914400" rtl="0" eaLnBrk="1" latinLnBrk="0" hangingPunct="1">
        <a:lnSpc>
          <a:spcPct val="100000"/>
        </a:lnSpc>
        <a:spcBef>
          <a:spcPts val="1000"/>
        </a:spcBef>
        <a:spcAft>
          <a:spcPts val="600"/>
        </a:spcAft>
        <a:buClr>
          <a:schemeClr val="accent6"/>
        </a:buClr>
        <a:buFont typeface="Arial" panose="020B0604020202020204" pitchFamily="34" charset="0"/>
        <a:buChar char="•"/>
        <a:defRPr sz="2000" kern="1200">
          <a:solidFill>
            <a:schemeClr val="tx2"/>
          </a:solidFill>
          <a:latin typeface="+mn-lt"/>
          <a:ea typeface="+mn-ea"/>
          <a:cs typeface="+mn-cs"/>
        </a:defRPr>
      </a:lvl1pPr>
      <a:lvl2pPr marL="533400" indent="-266700" algn="l" defTabSz="914400" rtl="0" eaLnBrk="1" latinLnBrk="0" hangingPunct="1">
        <a:lnSpc>
          <a:spcPct val="100000"/>
        </a:lnSpc>
        <a:spcBef>
          <a:spcPts val="500"/>
        </a:spcBef>
        <a:spcAft>
          <a:spcPts val="600"/>
        </a:spcAft>
        <a:buClr>
          <a:schemeClr val="accent6"/>
        </a:buClr>
        <a:buFont typeface="Arial" panose="020B0604020202020204" pitchFamily="34" charset="0"/>
        <a:buChar char="•"/>
        <a:defRPr sz="1800" kern="1200">
          <a:solidFill>
            <a:schemeClr val="tx2"/>
          </a:solidFill>
          <a:latin typeface="+mn-lt"/>
          <a:ea typeface="+mn-ea"/>
          <a:cs typeface="+mn-cs"/>
        </a:defRPr>
      </a:lvl2pPr>
      <a:lvl3pPr marL="1143000" indent="-228600" algn="l" defTabSz="914400" rtl="0" eaLnBrk="1" latinLnBrk="0" hangingPunct="1">
        <a:lnSpc>
          <a:spcPct val="100000"/>
        </a:lnSpc>
        <a:spcBef>
          <a:spcPts val="500"/>
        </a:spcBef>
        <a:spcAft>
          <a:spcPts val="600"/>
        </a:spcAft>
        <a:buClr>
          <a:schemeClr val="accent6"/>
        </a:buClr>
        <a:buFont typeface="Arial" panose="020B0604020202020204" pitchFamily="34" charset="0"/>
        <a:buChar char="•"/>
        <a:defRPr sz="1600" kern="1200">
          <a:solidFill>
            <a:schemeClr val="tx2"/>
          </a:solidFill>
          <a:latin typeface="+mn-lt"/>
          <a:ea typeface="+mn-ea"/>
          <a:cs typeface="+mn-cs"/>
        </a:defRPr>
      </a:lvl3pPr>
      <a:lvl4pPr marL="0" indent="0" algn="l" defTabSz="914400" rtl="0" eaLnBrk="1" latinLnBrk="0" hangingPunct="1">
        <a:lnSpc>
          <a:spcPct val="100000"/>
        </a:lnSpc>
        <a:spcBef>
          <a:spcPts val="500"/>
        </a:spcBef>
        <a:spcAft>
          <a:spcPts val="600"/>
        </a:spcAft>
        <a:buClr>
          <a:schemeClr val="accent6"/>
        </a:buClr>
        <a:buFont typeface="Arial" panose="020B0604020202020204" pitchFamily="34" charset="0"/>
        <a:buNone/>
        <a:defRPr sz="2000" kern="1200">
          <a:solidFill>
            <a:schemeClr val="tx2"/>
          </a:solidFill>
          <a:latin typeface="+mn-lt"/>
          <a:ea typeface="+mn-ea"/>
          <a:cs typeface="+mn-cs"/>
        </a:defRPr>
      </a:lvl4pPr>
      <a:lvl5pPr marL="0" indent="0" algn="l" defTabSz="914400" rtl="0" eaLnBrk="1" latinLnBrk="0" hangingPunct="1">
        <a:lnSpc>
          <a:spcPct val="100000"/>
        </a:lnSpc>
        <a:spcBef>
          <a:spcPts val="500"/>
        </a:spcBef>
        <a:spcAft>
          <a:spcPts val="600"/>
        </a:spcAft>
        <a:buClr>
          <a:schemeClr val="accent6"/>
        </a:buClr>
        <a:buFont typeface="Arial" panose="020B0604020202020204" pitchFamily="34" charset="0"/>
        <a:buNone/>
        <a:defRPr sz="2000" b="1" kern="1200">
          <a:solidFill>
            <a:schemeClr val="tx2"/>
          </a:solidFill>
          <a:latin typeface="+mn-lt"/>
          <a:ea typeface="+mn-ea"/>
          <a:cs typeface="+mn-cs"/>
        </a:defRPr>
      </a:lvl5pPr>
      <a:lvl6pPr marL="0" indent="0" algn="l" defTabSz="914400" rtl="0" eaLnBrk="1" latinLnBrk="0" hangingPunct="1">
        <a:lnSpc>
          <a:spcPct val="100000"/>
        </a:lnSpc>
        <a:spcBef>
          <a:spcPts val="500"/>
        </a:spcBef>
        <a:buFont typeface="Arial" panose="020B0604020202020204" pitchFamily="34" charset="0"/>
        <a:buNone/>
        <a:defRPr sz="2000" kern="1200">
          <a:solidFill>
            <a:schemeClr val="accent2"/>
          </a:solidFill>
          <a:latin typeface="+mn-lt"/>
          <a:ea typeface="+mn-ea"/>
          <a:cs typeface="+mn-cs"/>
        </a:defRPr>
      </a:lvl6pPr>
      <a:lvl7pPr marL="457200" indent="-457200" algn="l" defTabSz="914400" rtl="0" eaLnBrk="1" latinLnBrk="0" hangingPunct="1">
        <a:lnSpc>
          <a:spcPct val="100000"/>
        </a:lnSpc>
        <a:spcBef>
          <a:spcPts val="500"/>
        </a:spcBef>
        <a:buClr>
          <a:schemeClr val="accent2"/>
        </a:buClr>
        <a:buFont typeface="+mj-lt"/>
        <a:buAutoNum type="arabicPeriod"/>
        <a:defRPr sz="2000" kern="1200">
          <a:solidFill>
            <a:schemeClr val="tx1"/>
          </a:solidFill>
          <a:latin typeface="+mn-lt"/>
          <a:ea typeface="+mn-ea"/>
          <a:cs typeface="+mn-cs"/>
        </a:defRPr>
      </a:lvl7pPr>
      <a:lvl8pPr marL="447675" indent="-447675" algn="l" defTabSz="914400" rtl="0" eaLnBrk="1" latinLnBrk="0" hangingPunct="1">
        <a:lnSpc>
          <a:spcPct val="100000"/>
        </a:lnSpc>
        <a:spcBef>
          <a:spcPts val="500"/>
        </a:spcBef>
        <a:buClr>
          <a:schemeClr val="accent2"/>
        </a:buClr>
        <a:buFont typeface="+mj-lt"/>
        <a:buAutoNum type="alphaLcPeriod"/>
        <a:defRPr sz="2000" kern="1200">
          <a:solidFill>
            <a:schemeClr val="tx1"/>
          </a:solidFill>
          <a:latin typeface="+mn-lt"/>
          <a:ea typeface="+mn-ea"/>
          <a:cs typeface="+mn-cs"/>
        </a:defRPr>
      </a:lvl8pPr>
      <a:lvl9pPr marL="0" indent="0" algn="l" defTabSz="914400" rtl="0" eaLnBrk="1" latinLnBrk="0" hangingPunct="1">
        <a:lnSpc>
          <a:spcPct val="100000"/>
        </a:lnSpc>
        <a:spcBef>
          <a:spcPts val="500"/>
        </a:spcBef>
        <a:buFont typeface="Arial" panose="020B0604020202020204" pitchFamily="34" charset="0"/>
        <a:buNone/>
        <a:defRPr sz="1800" i="1"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guide id="3" orient="horz" pos="278">
          <p15:clr>
            <a:srgbClr val="F26B43"/>
          </p15:clr>
        </p15:guide>
        <p15:guide id="4" orient="horz" pos="3884">
          <p15:clr>
            <a:srgbClr val="F26B43"/>
          </p15:clr>
        </p15:guide>
        <p15:guide id="5" pos="279">
          <p15:clr>
            <a:srgbClr val="F26B43"/>
          </p15:clr>
        </p15:guide>
        <p15:guide id="6" pos="7401">
          <p15:clr>
            <a:srgbClr val="F26B43"/>
          </p15:clr>
        </p15:guide>
        <p15:guide id="7" orient="horz" pos="867">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hyperlink" Target="https://www.abilitynet.org.uk/news-blogs/creating-accessible-emails" TargetMode="External"/><Relationship Id="rId2" Type="http://schemas.openxmlformats.org/officeDocument/2006/relationships/image" Target="../media/image34.png"/><Relationship Id="rId1" Type="http://schemas.openxmlformats.org/officeDocument/2006/relationships/slideLayout" Target="../slideLayouts/slideLayout24.xml"/><Relationship Id="rId5" Type="http://schemas.openxmlformats.org/officeDocument/2006/relationships/hyperlink" Target="https://www.bbc.co.uk/gel/features/how-to-design-accessible-email-newsletters" TargetMode="External"/><Relationship Id="rId4" Type="http://schemas.openxmlformats.org/officeDocument/2006/relationships/hyperlink" Target="https://mailchimp.com/en-gb/help/accessibility-in-email-marketing/"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xml"/><Relationship Id="rId1" Type="http://schemas.openxmlformats.org/officeDocument/2006/relationships/slideLayout" Target="../slideLayouts/slideLayout23.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s/_rels/slide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3.xml"/><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7.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8.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961382B-D94B-974E-953E-BA3D29B983DD}"/>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4A935F8-6F02-46CF-898B-F9D6B7DB9D8E}" type="slidenum">
              <a:rPr kumimoji="0" lang="en-GB" sz="800" b="0" i="0" u="none" strike="noStrike" kern="1200" cap="none" spc="0" normalizeH="0" baseline="0" noProof="0" smtClean="0">
                <a:ln>
                  <a:noFill/>
                </a:ln>
                <a:solidFill>
                  <a:srgbClr val="FFFFFF"/>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a:t>
            </a:fld>
            <a:endParaRPr kumimoji="0" lang="en-GB" sz="800" b="0" i="0" u="none" strike="noStrike" kern="1200" cap="none" spc="0" normalizeH="0" baseline="0" noProof="0">
              <a:ln>
                <a:noFill/>
              </a:ln>
              <a:solidFill>
                <a:srgbClr val="FFFFFF"/>
              </a:solidFill>
              <a:effectLst/>
              <a:uLnTx/>
              <a:uFillTx/>
              <a:latin typeface="Arial"/>
              <a:ea typeface="+mn-ea"/>
              <a:cs typeface="+mn-cs"/>
            </a:endParaRPr>
          </a:p>
        </p:txBody>
      </p:sp>
      <p:sp>
        <p:nvSpPr>
          <p:cNvPr id="3" name="Title 2">
            <a:extLst>
              <a:ext uri="{FF2B5EF4-FFF2-40B4-BE49-F238E27FC236}">
                <a16:creationId xmlns:a16="http://schemas.microsoft.com/office/drawing/2014/main" id="{B39F0BD7-ED0E-DA4B-A679-578D473067A4}"/>
              </a:ext>
            </a:extLst>
          </p:cNvPr>
          <p:cNvSpPr>
            <a:spLocks noGrp="1"/>
          </p:cNvSpPr>
          <p:nvPr>
            <p:ph type="ctrTitle"/>
          </p:nvPr>
        </p:nvSpPr>
        <p:spPr>
          <a:xfrm>
            <a:off x="839416" y="2286000"/>
            <a:ext cx="5041007" cy="1884008"/>
          </a:xfrm>
        </p:spPr>
        <p:txBody>
          <a:bodyPr>
            <a:normAutofit/>
          </a:bodyPr>
          <a:lstStyle/>
          <a:p>
            <a:r>
              <a:rPr lang="en-GB" dirty="0">
                <a:solidFill>
                  <a:srgbClr val="0C7972"/>
                </a:solidFill>
              </a:rPr>
              <a:t>Optimising Accessibility</a:t>
            </a:r>
            <a:endParaRPr dirty="0">
              <a:solidFill>
                <a:srgbClr val="0C7972"/>
              </a:solidFill>
            </a:endParaRPr>
          </a:p>
        </p:txBody>
      </p:sp>
      <p:sp>
        <p:nvSpPr>
          <p:cNvPr id="4" name="Subtitle 3">
            <a:extLst>
              <a:ext uri="{FF2B5EF4-FFF2-40B4-BE49-F238E27FC236}">
                <a16:creationId xmlns:a16="http://schemas.microsoft.com/office/drawing/2014/main" id="{E5B0C775-0E75-4843-8EAC-3A81C4F85D83}"/>
              </a:ext>
            </a:extLst>
          </p:cNvPr>
          <p:cNvSpPr>
            <a:spLocks noGrp="1"/>
          </p:cNvSpPr>
          <p:nvPr>
            <p:ph type="subTitle" idx="1"/>
          </p:nvPr>
        </p:nvSpPr>
        <p:spPr>
          <a:xfrm>
            <a:off x="839416" y="4170008"/>
            <a:ext cx="4464943" cy="1997549"/>
          </a:xfrm>
        </p:spPr>
        <p:txBody>
          <a:bodyPr/>
          <a:lstStyle/>
          <a:p>
            <a:r>
              <a:rPr lang="en-US" dirty="0"/>
              <a:t>Creating accessible emails in Outlook</a:t>
            </a:r>
            <a:endParaRPr lang="en-GB" dirty="0"/>
          </a:p>
          <a:p>
            <a:endParaRPr dirty="0"/>
          </a:p>
        </p:txBody>
      </p:sp>
      <p:sp>
        <p:nvSpPr>
          <p:cNvPr id="9" name="Oval 8">
            <a:extLst>
              <a:ext uri="{FF2B5EF4-FFF2-40B4-BE49-F238E27FC236}">
                <a16:creationId xmlns:a16="http://schemas.microsoft.com/office/drawing/2014/main" id="{06189128-7329-4B86-9B05-512A29B809D8}"/>
              </a:ext>
            </a:extLst>
          </p:cNvPr>
          <p:cNvSpPr/>
          <p:nvPr/>
        </p:nvSpPr>
        <p:spPr>
          <a:xfrm>
            <a:off x="7968208" y="332656"/>
            <a:ext cx="4032448" cy="396044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0" name="Oval 9">
            <a:extLst>
              <a:ext uri="{FF2B5EF4-FFF2-40B4-BE49-F238E27FC236}">
                <a16:creationId xmlns:a16="http://schemas.microsoft.com/office/drawing/2014/main" id="{32EBBA98-8E26-4B3F-88C1-6AF9545C4E1D}"/>
              </a:ext>
            </a:extLst>
          </p:cNvPr>
          <p:cNvSpPr/>
          <p:nvPr/>
        </p:nvSpPr>
        <p:spPr>
          <a:xfrm>
            <a:off x="7824192" y="103398"/>
            <a:ext cx="1511672" cy="159741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1" name="Oval 10">
            <a:extLst>
              <a:ext uri="{FF2B5EF4-FFF2-40B4-BE49-F238E27FC236}">
                <a16:creationId xmlns:a16="http://schemas.microsoft.com/office/drawing/2014/main" id="{041D1DB0-074D-497C-B7EB-981C68424D07}"/>
              </a:ext>
            </a:extLst>
          </p:cNvPr>
          <p:cNvSpPr/>
          <p:nvPr/>
        </p:nvSpPr>
        <p:spPr>
          <a:xfrm>
            <a:off x="11688932" y="1417054"/>
            <a:ext cx="495672" cy="86894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pic>
        <p:nvPicPr>
          <p:cNvPr id="7" name="Picture 6" descr="A person wearing headphones using a laptop surrounded by Colt stream graphic and icons.&#10;">
            <a:extLst>
              <a:ext uri="{FF2B5EF4-FFF2-40B4-BE49-F238E27FC236}">
                <a16:creationId xmlns:a16="http://schemas.microsoft.com/office/drawing/2014/main" id="{B6A69B84-F537-421D-8AAB-E47CC75A96F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19936" y="103398"/>
            <a:ext cx="7105650" cy="5981700"/>
          </a:xfrm>
          <a:prstGeom prst="rect">
            <a:avLst/>
          </a:prstGeom>
        </p:spPr>
      </p:pic>
    </p:spTree>
    <p:extLst>
      <p:ext uri="{BB962C8B-B14F-4D97-AF65-F5344CB8AC3E}">
        <p14:creationId xmlns:p14="http://schemas.microsoft.com/office/powerpoint/2010/main" val="417273801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lowchart: Terminator 7">
            <a:extLst>
              <a:ext uri="{FF2B5EF4-FFF2-40B4-BE49-F238E27FC236}">
                <a16:creationId xmlns:a16="http://schemas.microsoft.com/office/drawing/2014/main" id="{3C65D897-5F37-4746-934F-DDDB9A41C03D}"/>
              </a:ext>
              <a:ext uri="{C183D7F6-B498-43B3-948B-1728B52AA6E4}">
                <adec:decorative xmlns:adec="http://schemas.microsoft.com/office/drawing/2017/decorative" val="1"/>
              </a:ext>
            </a:extLst>
          </p:cNvPr>
          <p:cNvSpPr/>
          <p:nvPr/>
        </p:nvSpPr>
        <p:spPr>
          <a:xfrm rot="19943798">
            <a:off x="9062532" y="-744741"/>
            <a:ext cx="5400600" cy="1692595"/>
          </a:xfrm>
          <a:prstGeom prst="flowChartTerminator">
            <a:avLst/>
          </a:prstGeom>
          <a:solidFill>
            <a:schemeClr val="accent4">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 name="Title 1">
            <a:extLst>
              <a:ext uri="{FF2B5EF4-FFF2-40B4-BE49-F238E27FC236}">
                <a16:creationId xmlns:a16="http://schemas.microsoft.com/office/drawing/2014/main" id="{D6302376-4ED3-4AA8-B5C7-5BCAC38DDF32}"/>
              </a:ext>
            </a:extLst>
          </p:cNvPr>
          <p:cNvSpPr>
            <a:spLocks noGrp="1"/>
          </p:cNvSpPr>
          <p:nvPr>
            <p:ph type="title"/>
          </p:nvPr>
        </p:nvSpPr>
        <p:spPr/>
        <p:txBody>
          <a:bodyPr/>
          <a:lstStyle/>
          <a:p>
            <a:r>
              <a:rPr lang="en-GB" dirty="0">
                <a:solidFill>
                  <a:srgbClr val="0C7972"/>
                </a:solidFill>
              </a:rPr>
              <a:t>Make link text meaningful</a:t>
            </a:r>
            <a:endParaRPr lang="en-US" dirty="0">
              <a:solidFill>
                <a:srgbClr val="0C7972"/>
              </a:solidFill>
            </a:endParaRPr>
          </a:p>
        </p:txBody>
      </p:sp>
      <p:sp>
        <p:nvSpPr>
          <p:cNvPr id="3" name="Content Placeholder 2">
            <a:extLst>
              <a:ext uri="{FF2B5EF4-FFF2-40B4-BE49-F238E27FC236}">
                <a16:creationId xmlns:a16="http://schemas.microsoft.com/office/drawing/2014/main" id="{1E61F456-8850-448E-B482-E5ABF8FCCE00}"/>
              </a:ext>
            </a:extLst>
          </p:cNvPr>
          <p:cNvSpPr>
            <a:spLocks noGrp="1"/>
          </p:cNvSpPr>
          <p:nvPr>
            <p:ph sz="half" idx="1"/>
          </p:nvPr>
        </p:nvSpPr>
        <p:spPr>
          <a:xfrm>
            <a:off x="442914" y="1376364"/>
            <a:ext cx="6395427" cy="4789486"/>
          </a:xfrm>
        </p:spPr>
        <p:txBody>
          <a:bodyPr/>
          <a:lstStyle/>
          <a:p>
            <a:pPr marL="0" indent="0">
              <a:lnSpc>
                <a:spcPct val="107000"/>
              </a:lnSpc>
              <a:spcAft>
                <a:spcPts val="800"/>
              </a:spcAft>
              <a:buNone/>
            </a:pPr>
            <a:r>
              <a:rPr lang="en-GB" kern="100" dirty="0">
                <a:ea typeface="Yu Mincho" panose="02020400000000000000" pitchFamily="18" charset="-128"/>
                <a:cs typeface="Arial" panose="020B0604020202020204" pitchFamily="34" charset="0"/>
              </a:rPr>
              <a:t>We often share links in emails, especially marketing emails, including newsletters. </a:t>
            </a:r>
          </a:p>
          <a:p>
            <a:pPr marL="0" indent="0">
              <a:lnSpc>
                <a:spcPct val="107000"/>
              </a:lnSpc>
              <a:spcAft>
                <a:spcPts val="800"/>
              </a:spcAft>
              <a:buNone/>
            </a:pPr>
            <a:r>
              <a:rPr lang="en-GB" kern="100" dirty="0">
                <a:ea typeface="Yu Mincho" panose="02020400000000000000" pitchFamily="18" charset="-128"/>
                <a:cs typeface="Arial" panose="020B0604020202020204" pitchFamily="34" charset="0"/>
              </a:rPr>
              <a:t>When linking to resources or web pages, link text should be clear, with a clear indication of where it leads to. </a:t>
            </a:r>
          </a:p>
          <a:p>
            <a:pPr marL="0" indent="0">
              <a:lnSpc>
                <a:spcPct val="107000"/>
              </a:lnSpc>
              <a:spcAft>
                <a:spcPts val="800"/>
              </a:spcAft>
              <a:buNone/>
            </a:pPr>
            <a:r>
              <a:rPr lang="en-GB" kern="100" dirty="0">
                <a:ea typeface="Yu Mincho" panose="02020400000000000000" pitchFamily="18" charset="-128"/>
                <a:cs typeface="Arial" panose="020B0604020202020204" pitchFamily="34" charset="0"/>
              </a:rPr>
              <a:t>For example, ‘sign up for our latest news’ explains where the reader is directed to when they follow the link.</a:t>
            </a:r>
          </a:p>
          <a:p>
            <a:pPr marL="0" indent="0">
              <a:lnSpc>
                <a:spcPct val="107000"/>
              </a:lnSpc>
              <a:spcAft>
                <a:spcPts val="800"/>
              </a:spcAft>
              <a:buNone/>
            </a:pPr>
            <a:r>
              <a:rPr lang="en-GB" kern="100" dirty="0">
                <a:ea typeface="Yu Mincho" panose="02020400000000000000" pitchFamily="18" charset="-128"/>
                <a:cs typeface="Arial" panose="020B0604020202020204" pitchFamily="34" charset="0"/>
              </a:rPr>
              <a:t>Detailed links make things much easier for everyone.</a:t>
            </a:r>
          </a:p>
        </p:txBody>
      </p:sp>
      <p:sp>
        <p:nvSpPr>
          <p:cNvPr id="5" name="Slide Number Placeholder 4">
            <a:extLst>
              <a:ext uri="{FF2B5EF4-FFF2-40B4-BE49-F238E27FC236}">
                <a16:creationId xmlns:a16="http://schemas.microsoft.com/office/drawing/2014/main" id="{60BC5F83-2C13-4716-9434-4F0F8F00C2C3}"/>
              </a:ext>
            </a:extLst>
          </p:cNvPr>
          <p:cNvSpPr>
            <a:spLocks noGrp="1"/>
          </p:cNvSpPr>
          <p:nvPr>
            <p:ph type="sldNum" sz="quarter" idx="12"/>
          </p:nvPr>
        </p:nvSpPr>
        <p:spPr/>
        <p:txBody>
          <a:bodyPr/>
          <a:lstStyle/>
          <a:p>
            <a:pPr marL="0" marR="0" lvl="0" indent="0" algn="r" defTabSz="914400" rtl="0" eaLnBrk="1" fontAlgn="auto" latinLnBrk="0" hangingPunct="1">
              <a:lnSpc>
                <a:spcPts val="970"/>
              </a:lnSpc>
              <a:spcBef>
                <a:spcPts val="0"/>
              </a:spcBef>
              <a:spcAft>
                <a:spcPts val="0"/>
              </a:spcAft>
              <a:buClrTx/>
              <a:buSzTx/>
              <a:buFontTx/>
              <a:buNone/>
              <a:tabLst/>
              <a:defRPr/>
            </a:pPr>
            <a:fld id="{24A935F8-6F02-46CF-898B-F9D6B7DB9D8E}" type="slidenum">
              <a:rPr kumimoji="0" lang="en-GB" sz="800" b="0" i="0" u="none" strike="noStrike" kern="1200" cap="none" spc="0" normalizeH="0" baseline="0" noProof="0" smtClean="0">
                <a:ln>
                  <a:noFill/>
                </a:ln>
                <a:solidFill>
                  <a:srgbClr val="FFFFFF"/>
                </a:solidFill>
                <a:effectLst/>
                <a:uLnTx/>
                <a:uFillTx/>
                <a:latin typeface="Arial"/>
                <a:ea typeface="+mn-ea"/>
                <a:cs typeface="+mn-cs"/>
              </a:rPr>
              <a:pPr marL="0" marR="0" lvl="0" indent="0" algn="r" defTabSz="914400" rtl="0" eaLnBrk="1" fontAlgn="auto" latinLnBrk="0" hangingPunct="1">
                <a:lnSpc>
                  <a:spcPts val="970"/>
                </a:lnSpc>
                <a:spcBef>
                  <a:spcPts val="0"/>
                </a:spcBef>
                <a:spcAft>
                  <a:spcPts val="0"/>
                </a:spcAft>
                <a:buClrTx/>
                <a:buSzTx/>
                <a:buFontTx/>
                <a:buNone/>
                <a:tabLst/>
                <a:defRPr/>
              </a:pPr>
              <a:t>10</a:t>
            </a:fld>
            <a:endParaRPr kumimoji="0" lang="en-GB" sz="800" b="0" i="0" u="none" strike="noStrike" kern="1200" cap="none" spc="0" normalizeH="0" baseline="0" noProof="0">
              <a:ln>
                <a:noFill/>
              </a:ln>
              <a:solidFill>
                <a:srgbClr val="FFFFFF"/>
              </a:solidFill>
              <a:effectLst/>
              <a:uLnTx/>
              <a:uFillTx/>
              <a:latin typeface="Arial"/>
              <a:ea typeface="+mn-ea"/>
              <a:cs typeface="+mn-cs"/>
            </a:endParaRPr>
          </a:p>
        </p:txBody>
      </p:sp>
      <p:sp>
        <p:nvSpPr>
          <p:cNvPr id="7" name="Circle: Hollow 6">
            <a:extLst>
              <a:ext uri="{FF2B5EF4-FFF2-40B4-BE49-F238E27FC236}">
                <a16:creationId xmlns:a16="http://schemas.microsoft.com/office/drawing/2014/main" id="{BA056F1E-F6B0-4B10-8F49-FAD7220882A3}"/>
              </a:ext>
              <a:ext uri="{C183D7F6-B498-43B3-948B-1728B52AA6E4}">
                <adec:decorative xmlns:adec="http://schemas.microsoft.com/office/drawing/2017/decorative" val="1"/>
              </a:ext>
            </a:extLst>
          </p:cNvPr>
          <p:cNvSpPr/>
          <p:nvPr/>
        </p:nvSpPr>
        <p:spPr>
          <a:xfrm>
            <a:off x="-816768" y="4706749"/>
            <a:ext cx="1800200" cy="1800000"/>
          </a:xfrm>
          <a:prstGeom prst="donut">
            <a:avLst>
              <a:gd name="adj" fmla="val 16352"/>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pic>
        <p:nvPicPr>
          <p:cNvPr id="9" name="Picture 8" descr="Link dropdown menu">
            <a:extLst>
              <a:ext uri="{FF2B5EF4-FFF2-40B4-BE49-F238E27FC236}">
                <a16:creationId xmlns:a16="http://schemas.microsoft.com/office/drawing/2014/main" id="{E43B846B-A5F9-4B3F-B184-55D2E8F79F99}"/>
              </a:ext>
            </a:extLst>
          </p:cNvPr>
          <p:cNvPicPr>
            <a:picLocks noChangeAspect="1"/>
          </p:cNvPicPr>
          <p:nvPr/>
        </p:nvPicPr>
        <p:blipFill>
          <a:blip r:embed="rId2"/>
          <a:stretch>
            <a:fillRect/>
          </a:stretch>
        </p:blipFill>
        <p:spPr>
          <a:xfrm>
            <a:off x="9802693" y="2715043"/>
            <a:ext cx="1326372" cy="1247016"/>
          </a:xfrm>
          <a:prstGeom prst="rect">
            <a:avLst/>
          </a:prstGeom>
        </p:spPr>
      </p:pic>
      <p:pic>
        <p:nvPicPr>
          <p:cNvPr id="12" name="Picture 11" descr="Circled Link menu">
            <a:extLst>
              <a:ext uri="{FF2B5EF4-FFF2-40B4-BE49-F238E27FC236}">
                <a16:creationId xmlns:a16="http://schemas.microsoft.com/office/drawing/2014/main" id="{4575E87F-EBE7-4E09-9CEF-9F6C60DD2DA8}"/>
              </a:ext>
            </a:extLst>
          </p:cNvPr>
          <p:cNvPicPr>
            <a:picLocks noChangeAspect="1"/>
          </p:cNvPicPr>
          <p:nvPr/>
        </p:nvPicPr>
        <p:blipFill>
          <a:blip r:embed="rId3"/>
          <a:stretch>
            <a:fillRect/>
          </a:stretch>
        </p:blipFill>
        <p:spPr>
          <a:xfrm>
            <a:off x="7228055" y="1571449"/>
            <a:ext cx="1749704" cy="4877223"/>
          </a:xfrm>
          <a:prstGeom prst="rect">
            <a:avLst/>
          </a:prstGeom>
        </p:spPr>
      </p:pic>
    </p:spTree>
    <p:extLst>
      <p:ext uri="{BB962C8B-B14F-4D97-AF65-F5344CB8AC3E}">
        <p14:creationId xmlns:p14="http://schemas.microsoft.com/office/powerpoint/2010/main" val="178596702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74F44F-0E8C-4112-9DE7-92E823F649E3}"/>
              </a:ext>
            </a:extLst>
          </p:cNvPr>
          <p:cNvSpPr>
            <a:spLocks noGrp="1"/>
          </p:cNvSpPr>
          <p:nvPr>
            <p:ph type="title"/>
          </p:nvPr>
        </p:nvSpPr>
        <p:spPr/>
        <p:txBody>
          <a:bodyPr/>
          <a:lstStyle/>
          <a:p>
            <a:r>
              <a:rPr lang="en-GB" dirty="0">
                <a:solidFill>
                  <a:srgbClr val="0C7972"/>
                </a:solidFill>
              </a:rPr>
              <a:t>Formatting your emails</a:t>
            </a:r>
            <a:endParaRPr lang="en-US" dirty="0">
              <a:solidFill>
                <a:srgbClr val="0C7972"/>
              </a:solidFill>
            </a:endParaRPr>
          </a:p>
        </p:txBody>
      </p:sp>
      <p:sp>
        <p:nvSpPr>
          <p:cNvPr id="3" name="Content Placeholder 2">
            <a:extLst>
              <a:ext uri="{FF2B5EF4-FFF2-40B4-BE49-F238E27FC236}">
                <a16:creationId xmlns:a16="http://schemas.microsoft.com/office/drawing/2014/main" id="{9F71C17A-D72E-4E3A-B665-DA1A6A16EAE9}"/>
              </a:ext>
            </a:extLst>
          </p:cNvPr>
          <p:cNvSpPr>
            <a:spLocks noGrp="1"/>
          </p:cNvSpPr>
          <p:nvPr>
            <p:ph idx="1"/>
          </p:nvPr>
        </p:nvSpPr>
        <p:spPr>
          <a:xfrm>
            <a:off x="442911" y="1376364"/>
            <a:ext cx="11278689" cy="4789486"/>
          </a:xfrm>
        </p:spPr>
        <p:txBody>
          <a:bodyPr/>
          <a:lstStyle/>
          <a:p>
            <a:r>
              <a:rPr lang="en-GB" dirty="0"/>
              <a:t>Ensure enough space between lines and paragraphs to make the words easier to read. </a:t>
            </a:r>
          </a:p>
          <a:p>
            <a:r>
              <a:rPr lang="en-GB" dirty="0"/>
              <a:t>If you need to use tables in your emails, mark up the table headers so that screen reader users can understand the data. </a:t>
            </a:r>
            <a:endParaRPr lang="en-US" dirty="0"/>
          </a:p>
        </p:txBody>
      </p:sp>
      <p:sp>
        <p:nvSpPr>
          <p:cNvPr id="4" name="Slide Number Placeholder 3">
            <a:extLst>
              <a:ext uri="{FF2B5EF4-FFF2-40B4-BE49-F238E27FC236}">
                <a16:creationId xmlns:a16="http://schemas.microsoft.com/office/drawing/2014/main" id="{7C4210DB-559D-4921-8455-D481706A4F3F}"/>
              </a:ext>
            </a:extLst>
          </p:cNvPr>
          <p:cNvSpPr>
            <a:spLocks noGrp="1"/>
          </p:cNvSpPr>
          <p:nvPr>
            <p:ph type="sldNum" sz="quarter" idx="12"/>
          </p:nvPr>
        </p:nvSpPr>
        <p:spPr/>
        <p:txBody>
          <a:bodyPr/>
          <a:lstStyle/>
          <a:p>
            <a:pPr algn="r">
              <a:lnSpc>
                <a:spcPts val="970"/>
              </a:lnSpc>
            </a:pPr>
            <a:fld id="{24A935F8-6F02-46CF-898B-F9D6B7DB9D8E}" type="slidenum">
              <a:rPr lang="en-GB" smtClean="0"/>
              <a:pPr algn="r">
                <a:lnSpc>
                  <a:spcPts val="970"/>
                </a:lnSpc>
              </a:pPr>
              <a:t>11</a:t>
            </a:fld>
            <a:endParaRPr lang="en-GB"/>
          </a:p>
        </p:txBody>
      </p:sp>
      <p:pic>
        <p:nvPicPr>
          <p:cNvPr id="5" name="Picture 2" descr="What Is 1.5 Paragraph Spacing? Four examples of 1.5 spacing  on different platforms showing the variations.">
            <a:extLst>
              <a:ext uri="{FF2B5EF4-FFF2-40B4-BE49-F238E27FC236}">
                <a16:creationId xmlns:a16="http://schemas.microsoft.com/office/drawing/2014/main" id="{752A826C-70F1-43A2-BD64-F61181EEDD4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38463" y="2843784"/>
            <a:ext cx="10687584" cy="3419806"/>
          </a:xfrm>
          <a:prstGeom prst="rect">
            <a:avLst/>
          </a:prstGeom>
          <a:noFill/>
          <a:extLst>
            <a:ext uri="{909E8E84-426E-40DD-AFC4-6F175D3DCCD1}">
              <a14:hiddenFill xmlns:a14="http://schemas.microsoft.com/office/drawing/2010/main">
                <a:solidFill>
                  <a:srgbClr val="FFFFFF"/>
                </a:solidFill>
              </a14:hiddenFill>
            </a:ext>
          </a:extLst>
        </p:spPr>
      </p:pic>
      <p:sp>
        <p:nvSpPr>
          <p:cNvPr id="6" name="Circle: Hollow 5">
            <a:extLst>
              <a:ext uri="{FF2B5EF4-FFF2-40B4-BE49-F238E27FC236}">
                <a16:creationId xmlns:a16="http://schemas.microsoft.com/office/drawing/2014/main" id="{AF7D5108-FD7B-4F32-8543-E2A94BDDA1B5}"/>
              </a:ext>
              <a:ext uri="{C183D7F6-B498-43B3-948B-1728B52AA6E4}">
                <adec:decorative xmlns:adec="http://schemas.microsoft.com/office/drawing/2017/decorative" val="1"/>
              </a:ext>
            </a:extLst>
          </p:cNvPr>
          <p:cNvSpPr/>
          <p:nvPr/>
        </p:nvSpPr>
        <p:spPr>
          <a:xfrm>
            <a:off x="11278800" y="-561688"/>
            <a:ext cx="1569759" cy="1584176"/>
          </a:xfrm>
          <a:prstGeom prst="donut">
            <a:avLst>
              <a:gd name="adj" fmla="val 16352"/>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Tree>
    <p:extLst>
      <p:ext uri="{BB962C8B-B14F-4D97-AF65-F5344CB8AC3E}">
        <p14:creationId xmlns:p14="http://schemas.microsoft.com/office/powerpoint/2010/main" val="157037405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A37D38-811D-40EB-B1AB-079736B4B7B3}"/>
              </a:ext>
            </a:extLst>
          </p:cNvPr>
          <p:cNvSpPr>
            <a:spLocks noGrp="1"/>
          </p:cNvSpPr>
          <p:nvPr>
            <p:ph type="title"/>
          </p:nvPr>
        </p:nvSpPr>
        <p:spPr/>
        <p:txBody>
          <a:bodyPr/>
          <a:lstStyle/>
          <a:p>
            <a:r>
              <a:rPr lang="en-GB" dirty="0">
                <a:solidFill>
                  <a:srgbClr val="0C7972"/>
                </a:solidFill>
              </a:rPr>
              <a:t>Include a plain-text version</a:t>
            </a:r>
            <a:endParaRPr lang="en-US" dirty="0">
              <a:solidFill>
                <a:srgbClr val="0C7972"/>
              </a:solidFill>
            </a:endParaRPr>
          </a:p>
        </p:txBody>
      </p:sp>
      <p:sp>
        <p:nvSpPr>
          <p:cNvPr id="3" name="Content Placeholder 2">
            <a:extLst>
              <a:ext uri="{FF2B5EF4-FFF2-40B4-BE49-F238E27FC236}">
                <a16:creationId xmlns:a16="http://schemas.microsoft.com/office/drawing/2014/main" id="{85868C27-6DED-439E-9D7F-72238EC9FBEA}"/>
              </a:ext>
            </a:extLst>
          </p:cNvPr>
          <p:cNvSpPr>
            <a:spLocks noGrp="1"/>
          </p:cNvSpPr>
          <p:nvPr>
            <p:ph sz="half" idx="1"/>
          </p:nvPr>
        </p:nvSpPr>
        <p:spPr/>
        <p:txBody>
          <a:bodyPr/>
          <a:lstStyle/>
          <a:p>
            <a:pPr marL="0" indent="0">
              <a:lnSpc>
                <a:spcPct val="107000"/>
              </a:lnSpc>
              <a:spcAft>
                <a:spcPts val="800"/>
              </a:spcAft>
              <a:buNone/>
            </a:pPr>
            <a:r>
              <a:rPr lang="en-GB" kern="100" dirty="0">
                <a:latin typeface="Arial" panose="020B0604020202020204" pitchFamily="34" charset="0"/>
                <a:ea typeface="Yu Mincho" panose="02020400000000000000" pitchFamily="18" charset="-128"/>
                <a:cs typeface="Arial" panose="020B0604020202020204" pitchFamily="34" charset="0"/>
              </a:rPr>
              <a:t>If you are sending marketing emails, you can include a plain-text version. </a:t>
            </a:r>
          </a:p>
          <a:p>
            <a:pPr>
              <a:lnSpc>
                <a:spcPct val="107000"/>
              </a:lnSpc>
              <a:spcAft>
                <a:spcPts val="800"/>
              </a:spcAft>
            </a:pPr>
            <a:r>
              <a:rPr lang="en-GB" kern="100" dirty="0">
                <a:latin typeface="Arial" panose="020B0604020202020204" pitchFamily="34" charset="0"/>
                <a:ea typeface="Yu Mincho" panose="02020400000000000000" pitchFamily="18" charset="-128"/>
                <a:cs typeface="Arial" panose="020B0604020202020204" pitchFamily="34" charset="0"/>
              </a:rPr>
              <a:t>Plain-text emails are simpler with no images, embedded links or design features.</a:t>
            </a:r>
          </a:p>
          <a:p>
            <a:pPr>
              <a:lnSpc>
                <a:spcPct val="107000"/>
              </a:lnSpc>
              <a:spcAft>
                <a:spcPts val="800"/>
              </a:spcAft>
            </a:pPr>
            <a:r>
              <a:rPr lang="en-GB" kern="100" dirty="0">
                <a:latin typeface="Arial" panose="020B0604020202020204" pitchFamily="34" charset="0"/>
                <a:ea typeface="Yu Mincho" panose="02020400000000000000" pitchFamily="18" charset="-128"/>
                <a:cs typeface="Arial" panose="020B0604020202020204" pitchFamily="34" charset="0"/>
              </a:rPr>
              <a:t>Some people who use assistive technology may prefer to use the plain-text version with the email's main content.</a:t>
            </a:r>
          </a:p>
          <a:p>
            <a:pPr>
              <a:lnSpc>
                <a:spcPct val="107000"/>
              </a:lnSpc>
              <a:spcAft>
                <a:spcPts val="800"/>
              </a:spcAft>
            </a:pPr>
            <a:r>
              <a:rPr lang="en-GB" kern="100" dirty="0">
                <a:latin typeface="Arial" panose="020B0604020202020204" pitchFamily="34" charset="0"/>
                <a:ea typeface="Yu Mincho" panose="02020400000000000000" pitchFamily="18" charset="-128"/>
                <a:cs typeface="Arial" panose="020B0604020202020204" pitchFamily="34" charset="0"/>
              </a:rPr>
              <a:t>It’s often best to offer people a choice of which version they would like to receive.</a:t>
            </a:r>
          </a:p>
          <a:p>
            <a:endParaRPr lang="en-US" dirty="0"/>
          </a:p>
        </p:txBody>
      </p:sp>
      <p:sp>
        <p:nvSpPr>
          <p:cNvPr id="5" name="Slide Number Placeholder 4">
            <a:extLst>
              <a:ext uri="{FF2B5EF4-FFF2-40B4-BE49-F238E27FC236}">
                <a16:creationId xmlns:a16="http://schemas.microsoft.com/office/drawing/2014/main" id="{AAED09B8-55E7-4945-828A-301ECECEEAB6}"/>
              </a:ext>
            </a:extLst>
          </p:cNvPr>
          <p:cNvSpPr>
            <a:spLocks noGrp="1"/>
          </p:cNvSpPr>
          <p:nvPr>
            <p:ph type="sldNum" sz="quarter" idx="12"/>
          </p:nvPr>
        </p:nvSpPr>
        <p:spPr/>
        <p:txBody>
          <a:bodyPr/>
          <a:lstStyle/>
          <a:p>
            <a:pPr marL="0" marR="0" lvl="0" indent="0" algn="r" defTabSz="914400" rtl="0" eaLnBrk="1" fontAlgn="auto" latinLnBrk="0" hangingPunct="1">
              <a:lnSpc>
                <a:spcPts val="970"/>
              </a:lnSpc>
              <a:spcBef>
                <a:spcPts val="0"/>
              </a:spcBef>
              <a:spcAft>
                <a:spcPts val="0"/>
              </a:spcAft>
              <a:buClrTx/>
              <a:buSzTx/>
              <a:buFontTx/>
              <a:buNone/>
              <a:tabLst/>
              <a:defRPr/>
            </a:pPr>
            <a:fld id="{24A935F8-6F02-46CF-898B-F9D6B7DB9D8E}" type="slidenum">
              <a:rPr kumimoji="0" lang="en-GB" sz="800" b="0" i="0" u="none" strike="noStrike" kern="1200" cap="none" spc="0" normalizeH="0" baseline="0" noProof="0" smtClean="0">
                <a:ln>
                  <a:noFill/>
                </a:ln>
                <a:solidFill>
                  <a:srgbClr val="FFFFFF"/>
                </a:solidFill>
                <a:effectLst/>
                <a:uLnTx/>
                <a:uFillTx/>
                <a:latin typeface="Arial"/>
                <a:ea typeface="+mn-ea"/>
                <a:cs typeface="+mn-cs"/>
              </a:rPr>
              <a:pPr marL="0" marR="0" lvl="0" indent="0" algn="r" defTabSz="914400" rtl="0" eaLnBrk="1" fontAlgn="auto" latinLnBrk="0" hangingPunct="1">
                <a:lnSpc>
                  <a:spcPts val="970"/>
                </a:lnSpc>
                <a:spcBef>
                  <a:spcPts val="0"/>
                </a:spcBef>
                <a:spcAft>
                  <a:spcPts val="0"/>
                </a:spcAft>
                <a:buClrTx/>
                <a:buSzTx/>
                <a:buFontTx/>
                <a:buNone/>
                <a:tabLst/>
                <a:defRPr/>
              </a:pPr>
              <a:t>12</a:t>
            </a:fld>
            <a:endParaRPr kumimoji="0" lang="en-GB" sz="800" b="0" i="0" u="none" strike="noStrike" kern="1200" cap="none" spc="0" normalizeH="0" baseline="0" noProof="0">
              <a:ln>
                <a:noFill/>
              </a:ln>
              <a:solidFill>
                <a:srgbClr val="FFFFFF"/>
              </a:solidFill>
              <a:effectLst/>
              <a:uLnTx/>
              <a:uFillTx/>
              <a:latin typeface="Arial"/>
              <a:ea typeface="+mn-ea"/>
              <a:cs typeface="+mn-cs"/>
            </a:endParaRPr>
          </a:p>
        </p:txBody>
      </p:sp>
      <p:sp>
        <p:nvSpPr>
          <p:cNvPr id="10" name="Flowchart: Terminator 9">
            <a:extLst>
              <a:ext uri="{FF2B5EF4-FFF2-40B4-BE49-F238E27FC236}">
                <a16:creationId xmlns:a16="http://schemas.microsoft.com/office/drawing/2014/main" id="{33539900-94E0-4B6D-9A39-17C933DD998B}"/>
              </a:ext>
              <a:ext uri="{C183D7F6-B498-43B3-948B-1728B52AA6E4}">
                <adec:decorative xmlns:adec="http://schemas.microsoft.com/office/drawing/2017/decorative" val="1"/>
              </a:ext>
            </a:extLst>
          </p:cNvPr>
          <p:cNvSpPr/>
          <p:nvPr/>
        </p:nvSpPr>
        <p:spPr>
          <a:xfrm rot="19943798">
            <a:off x="-2616837" y="6436069"/>
            <a:ext cx="5874818" cy="1443750"/>
          </a:xfrm>
          <a:prstGeom prst="flowChartTerminator">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1" name="Circle: Hollow 10">
            <a:extLst>
              <a:ext uri="{FF2B5EF4-FFF2-40B4-BE49-F238E27FC236}">
                <a16:creationId xmlns:a16="http://schemas.microsoft.com/office/drawing/2014/main" id="{BADEB318-6C87-4073-B44D-2AD44D0E8CC5}"/>
              </a:ext>
              <a:ext uri="{C183D7F6-B498-43B3-948B-1728B52AA6E4}">
                <adec:decorative xmlns:adec="http://schemas.microsoft.com/office/drawing/2017/decorative" val="1"/>
              </a:ext>
            </a:extLst>
          </p:cNvPr>
          <p:cNvSpPr/>
          <p:nvPr/>
        </p:nvSpPr>
        <p:spPr>
          <a:xfrm>
            <a:off x="10992544" y="-458675"/>
            <a:ext cx="1800200" cy="1800000"/>
          </a:xfrm>
          <a:prstGeom prst="donut">
            <a:avLst>
              <a:gd name="adj" fmla="val 16352"/>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pic>
        <p:nvPicPr>
          <p:cNvPr id="8" name="Picture 2" descr="Plain Text Email: Pros And Cons">
            <a:extLst>
              <a:ext uri="{FF2B5EF4-FFF2-40B4-BE49-F238E27FC236}">
                <a16:creationId xmlns:a16="http://schemas.microsoft.com/office/drawing/2014/main" id="{4FDF1BA0-ADB9-4983-A7B0-689AF7989B5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086374" y="1834420"/>
            <a:ext cx="4662714" cy="313508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738964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Flowchart: Terminator 10">
            <a:extLst>
              <a:ext uri="{FF2B5EF4-FFF2-40B4-BE49-F238E27FC236}">
                <a16:creationId xmlns:a16="http://schemas.microsoft.com/office/drawing/2014/main" id="{6310967A-3A7A-4687-8680-A669FEAE77B3}"/>
              </a:ext>
              <a:ext uri="{C183D7F6-B498-43B3-948B-1728B52AA6E4}">
                <adec:decorative xmlns:adec="http://schemas.microsoft.com/office/drawing/2017/decorative" val="1"/>
              </a:ext>
            </a:extLst>
          </p:cNvPr>
          <p:cNvSpPr/>
          <p:nvPr/>
        </p:nvSpPr>
        <p:spPr>
          <a:xfrm rot="19943798">
            <a:off x="2063685" y="5644499"/>
            <a:ext cx="5874818" cy="1443750"/>
          </a:xfrm>
          <a:prstGeom prst="flowChartTerminator">
            <a:avLst/>
          </a:prstGeom>
          <a:solidFill>
            <a:srgbClr val="5000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 name="Title 1">
            <a:extLst>
              <a:ext uri="{FF2B5EF4-FFF2-40B4-BE49-F238E27FC236}">
                <a16:creationId xmlns:a16="http://schemas.microsoft.com/office/drawing/2014/main" id="{E21C9CA3-B3F9-4F2B-8C7E-852618900FCD}"/>
              </a:ext>
            </a:extLst>
          </p:cNvPr>
          <p:cNvSpPr>
            <a:spLocks noGrp="1"/>
          </p:cNvSpPr>
          <p:nvPr>
            <p:ph type="title"/>
          </p:nvPr>
        </p:nvSpPr>
        <p:spPr/>
        <p:txBody>
          <a:bodyPr/>
          <a:lstStyle/>
          <a:p>
            <a:r>
              <a:rPr lang="en-GB" dirty="0">
                <a:solidFill>
                  <a:srgbClr val="0C7972"/>
                </a:solidFill>
              </a:rPr>
              <a:t>Use in-built accessibility checker</a:t>
            </a:r>
            <a:endParaRPr lang="en-US" dirty="0">
              <a:solidFill>
                <a:srgbClr val="0C7972"/>
              </a:solidFill>
            </a:endParaRPr>
          </a:p>
        </p:txBody>
      </p:sp>
      <p:sp>
        <p:nvSpPr>
          <p:cNvPr id="3" name="Content Placeholder 2">
            <a:extLst>
              <a:ext uri="{FF2B5EF4-FFF2-40B4-BE49-F238E27FC236}">
                <a16:creationId xmlns:a16="http://schemas.microsoft.com/office/drawing/2014/main" id="{01AE7EA5-A9FA-4C7E-8912-72F4CE9276F6}"/>
              </a:ext>
            </a:extLst>
          </p:cNvPr>
          <p:cNvSpPr>
            <a:spLocks noGrp="1"/>
          </p:cNvSpPr>
          <p:nvPr>
            <p:ph sz="half" idx="1"/>
          </p:nvPr>
        </p:nvSpPr>
        <p:spPr/>
        <p:txBody>
          <a:bodyPr/>
          <a:lstStyle/>
          <a:p>
            <a:pPr marL="0" indent="0">
              <a:lnSpc>
                <a:spcPct val="107000"/>
              </a:lnSpc>
              <a:spcAft>
                <a:spcPts val="800"/>
              </a:spcAft>
              <a:buNone/>
            </a:pPr>
            <a:r>
              <a:rPr lang="en-GB" kern="100" dirty="0">
                <a:latin typeface="Arial" panose="020B0604020202020204" pitchFamily="34" charset="0"/>
                <a:ea typeface="Yu Mincho" panose="02020400000000000000" pitchFamily="18" charset="-128"/>
                <a:cs typeface="Arial" panose="020B0604020202020204" pitchFamily="34" charset="0"/>
              </a:rPr>
              <a:t>Check the accessibility of your email using the checker included in Outlook..</a:t>
            </a:r>
          </a:p>
          <a:p>
            <a:pPr>
              <a:lnSpc>
                <a:spcPct val="107000"/>
              </a:lnSpc>
              <a:spcAft>
                <a:spcPts val="800"/>
              </a:spcAft>
            </a:pPr>
            <a:r>
              <a:rPr lang="en-GB" kern="100" dirty="0">
                <a:latin typeface="Arial" panose="020B0604020202020204" pitchFamily="34" charset="0"/>
                <a:ea typeface="Yu Mincho" panose="02020400000000000000" pitchFamily="18" charset="-128"/>
                <a:cs typeface="Arial" panose="020B0604020202020204" pitchFamily="34" charset="0"/>
              </a:rPr>
              <a:t>Whenever sending an email, whether for work or personal reasons, think about accessibility. </a:t>
            </a:r>
          </a:p>
          <a:p>
            <a:pPr>
              <a:lnSpc>
                <a:spcPct val="107000"/>
              </a:lnSpc>
              <a:spcAft>
                <a:spcPts val="800"/>
              </a:spcAft>
            </a:pPr>
            <a:r>
              <a:rPr lang="en-GB" kern="100" dirty="0">
                <a:latin typeface="Arial" panose="020B0604020202020204" pitchFamily="34" charset="0"/>
                <a:ea typeface="Yu Mincho" panose="02020400000000000000" pitchFamily="18" charset="-128"/>
                <a:cs typeface="Arial" panose="020B0604020202020204" pitchFamily="34" charset="0"/>
              </a:rPr>
              <a:t>Outlook has an option for you to let others know that you would prefer content in an accessible format. This can encourage others to think about accessibility</a:t>
            </a:r>
          </a:p>
          <a:p>
            <a:endParaRPr lang="en-US" dirty="0"/>
          </a:p>
        </p:txBody>
      </p:sp>
      <p:sp>
        <p:nvSpPr>
          <p:cNvPr id="5" name="Slide Number Placeholder 4">
            <a:extLst>
              <a:ext uri="{FF2B5EF4-FFF2-40B4-BE49-F238E27FC236}">
                <a16:creationId xmlns:a16="http://schemas.microsoft.com/office/drawing/2014/main" id="{024773C0-4839-4900-9F32-E3B62B5E1BCC}"/>
              </a:ext>
            </a:extLst>
          </p:cNvPr>
          <p:cNvSpPr>
            <a:spLocks noGrp="1"/>
          </p:cNvSpPr>
          <p:nvPr>
            <p:ph type="sldNum" sz="quarter" idx="12"/>
          </p:nvPr>
        </p:nvSpPr>
        <p:spPr/>
        <p:txBody>
          <a:bodyPr/>
          <a:lstStyle/>
          <a:p>
            <a:pPr marL="0" marR="0" lvl="0" indent="0" algn="r" defTabSz="914400" rtl="0" eaLnBrk="1" fontAlgn="auto" latinLnBrk="0" hangingPunct="1">
              <a:lnSpc>
                <a:spcPts val="970"/>
              </a:lnSpc>
              <a:spcBef>
                <a:spcPts val="0"/>
              </a:spcBef>
              <a:spcAft>
                <a:spcPts val="0"/>
              </a:spcAft>
              <a:buClrTx/>
              <a:buSzTx/>
              <a:buFontTx/>
              <a:buNone/>
              <a:tabLst/>
              <a:defRPr/>
            </a:pPr>
            <a:fld id="{24A935F8-6F02-46CF-898B-F9D6B7DB9D8E}" type="slidenum">
              <a:rPr kumimoji="0" lang="en-GB" sz="800" b="0" i="0" u="none" strike="noStrike" kern="1200" cap="none" spc="0" normalizeH="0" baseline="0" noProof="0" smtClean="0">
                <a:ln>
                  <a:noFill/>
                </a:ln>
                <a:solidFill>
                  <a:srgbClr val="FFFFFF"/>
                </a:solidFill>
                <a:effectLst/>
                <a:uLnTx/>
                <a:uFillTx/>
                <a:latin typeface="Arial"/>
                <a:ea typeface="+mn-ea"/>
                <a:cs typeface="+mn-cs"/>
              </a:rPr>
              <a:pPr marL="0" marR="0" lvl="0" indent="0" algn="r" defTabSz="914400" rtl="0" eaLnBrk="1" fontAlgn="auto" latinLnBrk="0" hangingPunct="1">
                <a:lnSpc>
                  <a:spcPts val="970"/>
                </a:lnSpc>
                <a:spcBef>
                  <a:spcPts val="0"/>
                </a:spcBef>
                <a:spcAft>
                  <a:spcPts val="0"/>
                </a:spcAft>
                <a:buClrTx/>
                <a:buSzTx/>
                <a:buFontTx/>
                <a:buNone/>
                <a:tabLst/>
                <a:defRPr/>
              </a:pPr>
              <a:t>13</a:t>
            </a:fld>
            <a:endParaRPr kumimoji="0" lang="en-GB" sz="800" b="0" i="0" u="none" strike="noStrike" kern="1200" cap="none" spc="0" normalizeH="0" baseline="0" noProof="0">
              <a:ln>
                <a:noFill/>
              </a:ln>
              <a:solidFill>
                <a:srgbClr val="FFFFFF"/>
              </a:solidFill>
              <a:effectLst/>
              <a:uLnTx/>
              <a:uFillTx/>
              <a:latin typeface="Arial"/>
              <a:ea typeface="+mn-ea"/>
              <a:cs typeface="+mn-cs"/>
            </a:endParaRPr>
          </a:p>
        </p:txBody>
      </p:sp>
      <p:sp>
        <p:nvSpPr>
          <p:cNvPr id="9" name="Flowchart: Terminator 8">
            <a:extLst>
              <a:ext uri="{FF2B5EF4-FFF2-40B4-BE49-F238E27FC236}">
                <a16:creationId xmlns:a16="http://schemas.microsoft.com/office/drawing/2014/main" id="{5CF951E7-9AD0-4736-919D-AE12FEFA48CF}"/>
              </a:ext>
              <a:ext uri="{C183D7F6-B498-43B3-948B-1728B52AA6E4}">
                <adec:decorative xmlns:adec="http://schemas.microsoft.com/office/drawing/2017/decorative" val="1"/>
              </a:ext>
            </a:extLst>
          </p:cNvPr>
          <p:cNvSpPr/>
          <p:nvPr/>
        </p:nvSpPr>
        <p:spPr>
          <a:xfrm rot="19943798">
            <a:off x="7430029" y="-615897"/>
            <a:ext cx="5400600" cy="1692595"/>
          </a:xfrm>
          <a:prstGeom prst="flowChartTerminator">
            <a:avLst/>
          </a:prstGeom>
          <a:solidFill>
            <a:srgbClr val="EF476F">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0" name="Circle: Hollow 9">
            <a:extLst>
              <a:ext uri="{FF2B5EF4-FFF2-40B4-BE49-F238E27FC236}">
                <a16:creationId xmlns:a16="http://schemas.microsoft.com/office/drawing/2014/main" id="{A402DA1C-59CD-420B-B22A-F99DE79C47E5}"/>
              </a:ext>
              <a:ext uri="{C183D7F6-B498-43B3-948B-1728B52AA6E4}">
                <adec:decorative xmlns:adec="http://schemas.microsoft.com/office/drawing/2017/decorative" val="1"/>
              </a:ext>
            </a:extLst>
          </p:cNvPr>
          <p:cNvSpPr/>
          <p:nvPr/>
        </p:nvSpPr>
        <p:spPr>
          <a:xfrm>
            <a:off x="-1104800" y="4566374"/>
            <a:ext cx="1800200" cy="1800000"/>
          </a:xfrm>
          <a:prstGeom prst="donut">
            <a:avLst>
              <a:gd name="adj" fmla="val 16352"/>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pic>
        <p:nvPicPr>
          <p:cNvPr id="12" name="Picture 11" descr="Accessibility checker in menu">
            <a:extLst>
              <a:ext uri="{FF2B5EF4-FFF2-40B4-BE49-F238E27FC236}">
                <a16:creationId xmlns:a16="http://schemas.microsoft.com/office/drawing/2014/main" id="{E0E07F35-DB2A-46D9-B7DF-789407A75E73}"/>
              </a:ext>
            </a:extLst>
          </p:cNvPr>
          <p:cNvPicPr>
            <a:picLocks noChangeAspect="1"/>
          </p:cNvPicPr>
          <p:nvPr/>
        </p:nvPicPr>
        <p:blipFill>
          <a:blip r:embed="rId2"/>
          <a:stretch>
            <a:fillRect/>
          </a:stretch>
        </p:blipFill>
        <p:spPr>
          <a:xfrm>
            <a:off x="7273248" y="2407631"/>
            <a:ext cx="4165467" cy="1940081"/>
          </a:xfrm>
          <a:prstGeom prst="rect">
            <a:avLst/>
          </a:prstGeom>
        </p:spPr>
      </p:pic>
    </p:spTree>
    <p:extLst>
      <p:ext uri="{BB962C8B-B14F-4D97-AF65-F5344CB8AC3E}">
        <p14:creationId xmlns:p14="http://schemas.microsoft.com/office/powerpoint/2010/main" val="38442019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descr="A group of open books">
            <a:extLst>
              <a:ext uri="{FF2B5EF4-FFF2-40B4-BE49-F238E27FC236}">
                <a16:creationId xmlns:a16="http://schemas.microsoft.com/office/drawing/2014/main" id="{50F1B640-6622-40E8-8A9F-920781C41CB3}"/>
              </a:ext>
            </a:extLst>
          </p:cNvPr>
          <p:cNvPicPr>
            <a:picLocks noGrp="1" noChangeAspect="1"/>
          </p:cNvPicPr>
          <p:nvPr>
            <p:ph type="pic" sz="quarter" idx="19"/>
          </p:nvPr>
        </p:nvPicPr>
        <p:blipFill>
          <a:blip r:embed="rId2">
            <a:extLst>
              <a:ext uri="{28A0092B-C50C-407E-A947-70E740481C1C}">
                <a14:useLocalDpi xmlns:a14="http://schemas.microsoft.com/office/drawing/2010/main" val="0"/>
              </a:ext>
            </a:extLst>
          </a:blip>
          <a:srcRect l="26466" r="26466"/>
          <a:stretch>
            <a:fillRect/>
          </a:stretch>
        </p:blipFill>
        <p:spPr/>
      </p:pic>
      <p:sp>
        <p:nvSpPr>
          <p:cNvPr id="3" name="Slide Number Placeholder 2">
            <a:extLst>
              <a:ext uri="{FF2B5EF4-FFF2-40B4-BE49-F238E27FC236}">
                <a16:creationId xmlns:a16="http://schemas.microsoft.com/office/drawing/2014/main" id="{7B43CB8E-FAC0-45AE-95A5-448F3734B4E3}"/>
              </a:ext>
            </a:extLst>
          </p:cNvPr>
          <p:cNvSpPr>
            <a:spLocks noGrp="1"/>
          </p:cNvSpPr>
          <p:nvPr>
            <p:ph type="sldNum" sz="quarter" idx="14"/>
          </p:nvPr>
        </p:nvSpPr>
        <p:spPr/>
        <p:txBody>
          <a:bodyPr/>
          <a:lstStyle/>
          <a:p>
            <a:pPr marL="0" marR="0" lvl="0" indent="0" algn="r" defTabSz="914400" rtl="0" eaLnBrk="1" fontAlgn="auto" latinLnBrk="0" hangingPunct="1">
              <a:lnSpc>
                <a:spcPts val="970"/>
              </a:lnSpc>
              <a:spcBef>
                <a:spcPts val="0"/>
              </a:spcBef>
              <a:spcAft>
                <a:spcPts val="0"/>
              </a:spcAft>
              <a:buClrTx/>
              <a:buSzTx/>
              <a:buFontTx/>
              <a:buNone/>
              <a:tabLst/>
              <a:defRPr/>
            </a:pPr>
            <a:fld id="{0B868178-02AE-42FC-958D-6B8F13B60175}" type="slidenum">
              <a:rPr kumimoji="0" lang="en-GB" sz="800" b="0" i="0" u="none" strike="noStrike" kern="1200" cap="none" spc="0" normalizeH="0" baseline="0" noProof="0" smtClean="0">
                <a:ln>
                  <a:noFill/>
                </a:ln>
                <a:solidFill>
                  <a:srgbClr val="FFFFFF"/>
                </a:solidFill>
                <a:effectLst/>
                <a:uLnTx/>
                <a:uFillTx/>
                <a:latin typeface="Arial"/>
                <a:ea typeface="+mn-ea"/>
                <a:cs typeface="+mn-cs"/>
              </a:rPr>
              <a:pPr marL="0" marR="0" lvl="0" indent="0" algn="r" defTabSz="914400" rtl="0" eaLnBrk="1" fontAlgn="auto" latinLnBrk="0" hangingPunct="1">
                <a:lnSpc>
                  <a:spcPts val="970"/>
                </a:lnSpc>
                <a:spcBef>
                  <a:spcPts val="0"/>
                </a:spcBef>
                <a:spcAft>
                  <a:spcPts val="0"/>
                </a:spcAft>
                <a:buClrTx/>
                <a:buSzTx/>
                <a:buFontTx/>
                <a:buNone/>
                <a:tabLst/>
                <a:defRPr/>
              </a:pPr>
              <a:t>14</a:t>
            </a:fld>
            <a:endParaRPr kumimoji="0" lang="en-GB" sz="800" b="0" i="0" u="none" strike="noStrike" kern="1200" cap="none" spc="0" normalizeH="0" baseline="0" noProof="0">
              <a:ln>
                <a:noFill/>
              </a:ln>
              <a:solidFill>
                <a:srgbClr val="FFFFFF"/>
              </a:solidFill>
              <a:effectLst/>
              <a:uLnTx/>
              <a:uFillTx/>
              <a:latin typeface="Arial"/>
              <a:ea typeface="+mn-ea"/>
              <a:cs typeface="+mn-cs"/>
            </a:endParaRPr>
          </a:p>
        </p:txBody>
      </p:sp>
      <p:sp>
        <p:nvSpPr>
          <p:cNvPr id="4" name="Title 3">
            <a:extLst>
              <a:ext uri="{FF2B5EF4-FFF2-40B4-BE49-F238E27FC236}">
                <a16:creationId xmlns:a16="http://schemas.microsoft.com/office/drawing/2014/main" id="{97EF64F8-B80A-4D9D-BA2B-4FEC7F3ACFD6}"/>
              </a:ext>
            </a:extLst>
          </p:cNvPr>
          <p:cNvSpPr>
            <a:spLocks noGrp="1"/>
          </p:cNvSpPr>
          <p:nvPr>
            <p:ph type="title"/>
          </p:nvPr>
        </p:nvSpPr>
        <p:spPr/>
        <p:txBody>
          <a:bodyPr/>
          <a:lstStyle/>
          <a:p>
            <a:r>
              <a:rPr lang="en-GB" dirty="0">
                <a:solidFill>
                  <a:srgbClr val="0C7972"/>
                </a:solidFill>
              </a:rPr>
              <a:t>Further sources of information</a:t>
            </a:r>
            <a:endParaRPr lang="en-US" dirty="0">
              <a:solidFill>
                <a:srgbClr val="0C7972"/>
              </a:solidFill>
            </a:endParaRPr>
          </a:p>
        </p:txBody>
      </p:sp>
      <p:sp>
        <p:nvSpPr>
          <p:cNvPr id="5" name="Content Placeholder 4">
            <a:extLst>
              <a:ext uri="{FF2B5EF4-FFF2-40B4-BE49-F238E27FC236}">
                <a16:creationId xmlns:a16="http://schemas.microsoft.com/office/drawing/2014/main" id="{AD9F198A-42E2-4753-908B-2C63D60BD6AE}"/>
              </a:ext>
            </a:extLst>
          </p:cNvPr>
          <p:cNvSpPr>
            <a:spLocks noGrp="1"/>
          </p:cNvSpPr>
          <p:nvPr>
            <p:ph sz="quarter" idx="20"/>
          </p:nvPr>
        </p:nvSpPr>
        <p:spPr/>
        <p:txBody>
          <a:bodyPr/>
          <a:lstStyle/>
          <a:p>
            <a:pPr marL="0" indent="0">
              <a:spcAft>
                <a:spcPts val="800"/>
              </a:spcAft>
              <a:buNone/>
            </a:pPr>
            <a:r>
              <a:rPr lang="en-GB" kern="100" dirty="0"/>
              <a:t>More information on making email accessible can be found at:</a:t>
            </a:r>
          </a:p>
          <a:p>
            <a:pPr>
              <a:spcAft>
                <a:spcPts val="800"/>
              </a:spcAft>
            </a:pPr>
            <a:r>
              <a:rPr lang="en-GB" u="sng" kern="100" dirty="0">
                <a:solidFill>
                  <a:srgbClr val="0099FF"/>
                </a:solidFill>
              </a:rPr>
              <a:t>Make your Outlook email accessible (Microsoft Support)</a:t>
            </a:r>
            <a:endParaRPr lang="en-GB" kern="100" dirty="0"/>
          </a:p>
          <a:p>
            <a:pPr>
              <a:spcAft>
                <a:spcPts val="800"/>
              </a:spcAft>
            </a:pPr>
            <a:r>
              <a:rPr lang="en-GB" u="sng" kern="100" dirty="0">
                <a:hlinkClick r:id="rId3"/>
              </a:rPr>
              <a:t>Creating accessible emails (AbilityNet)</a:t>
            </a:r>
            <a:endParaRPr lang="en-GB" kern="100" dirty="0"/>
          </a:p>
          <a:p>
            <a:pPr>
              <a:spcAft>
                <a:spcPts val="800"/>
              </a:spcAft>
            </a:pPr>
            <a:r>
              <a:rPr lang="en-GB" u="sng" kern="100" dirty="0">
                <a:hlinkClick r:id="rId4"/>
              </a:rPr>
              <a:t>Accessibility in email marketing (Mailchimp)</a:t>
            </a:r>
            <a:endParaRPr lang="en-GB" u="sng" kern="100" dirty="0"/>
          </a:p>
          <a:p>
            <a:pPr>
              <a:spcAft>
                <a:spcPts val="800"/>
              </a:spcAft>
            </a:pPr>
            <a:r>
              <a:rPr lang="en-GB" u="sng" kern="100" dirty="0">
                <a:hlinkClick r:id="rId5"/>
              </a:rPr>
              <a:t>BBC guide to accessible newsletters</a:t>
            </a:r>
            <a:endParaRPr lang="en-GB" kern="100" dirty="0"/>
          </a:p>
          <a:p>
            <a:pPr marL="0" indent="0">
              <a:buNone/>
            </a:pPr>
            <a:endParaRPr lang="en-US" dirty="0"/>
          </a:p>
        </p:txBody>
      </p:sp>
    </p:spTree>
    <p:extLst>
      <p:ext uri="{BB962C8B-B14F-4D97-AF65-F5344CB8AC3E}">
        <p14:creationId xmlns:p14="http://schemas.microsoft.com/office/powerpoint/2010/main" val="28333471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8FE7C4A-DEDF-4CA2-856B-9BB57C1A38D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868178-02AE-42FC-958D-6B8F13B60175}" type="slidenum">
              <a:rPr kumimoji="0" lang="en-GB" sz="800" b="0" i="0" u="none" strike="noStrike" kern="1200" cap="none" spc="0" normalizeH="0" baseline="0" noProof="0" smtClean="0">
                <a:ln>
                  <a:noFill/>
                </a:ln>
                <a:solidFill>
                  <a:srgbClr val="FFFFFF"/>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GB" sz="800" b="0" i="0" u="none" strike="noStrike" kern="1200" cap="none" spc="0" normalizeH="0" baseline="0" noProof="0">
              <a:ln>
                <a:noFill/>
              </a:ln>
              <a:solidFill>
                <a:srgbClr val="FFFFFF"/>
              </a:solidFill>
              <a:effectLst/>
              <a:uLnTx/>
              <a:uFillTx/>
              <a:latin typeface="Arial"/>
              <a:ea typeface="+mn-ea"/>
              <a:cs typeface="+mn-cs"/>
            </a:endParaRPr>
          </a:p>
        </p:txBody>
      </p:sp>
      <p:sp>
        <p:nvSpPr>
          <p:cNvPr id="4" name="Title 3">
            <a:extLst>
              <a:ext uri="{FF2B5EF4-FFF2-40B4-BE49-F238E27FC236}">
                <a16:creationId xmlns:a16="http://schemas.microsoft.com/office/drawing/2014/main" id="{507D65D8-E12A-4935-9D67-BDDC0E2DA37C}"/>
              </a:ext>
            </a:extLst>
          </p:cNvPr>
          <p:cNvSpPr>
            <a:spLocks noGrp="1"/>
          </p:cNvSpPr>
          <p:nvPr>
            <p:ph type="title"/>
          </p:nvPr>
        </p:nvSpPr>
        <p:spPr/>
        <p:txBody>
          <a:bodyPr/>
          <a:lstStyle/>
          <a:p>
            <a:r>
              <a:rPr lang="en-GB" dirty="0">
                <a:solidFill>
                  <a:srgbClr val="0C7972"/>
                </a:solidFill>
              </a:rPr>
              <a:t>Accessibility in Email </a:t>
            </a:r>
            <a:endParaRPr lang="en-US" dirty="0">
              <a:solidFill>
                <a:srgbClr val="0C7972"/>
              </a:solidFill>
            </a:endParaRPr>
          </a:p>
        </p:txBody>
      </p:sp>
      <p:sp>
        <p:nvSpPr>
          <p:cNvPr id="5" name="Content Placeholder 4">
            <a:extLst>
              <a:ext uri="{FF2B5EF4-FFF2-40B4-BE49-F238E27FC236}">
                <a16:creationId xmlns:a16="http://schemas.microsoft.com/office/drawing/2014/main" id="{A6382D31-8DB0-476B-AED0-8BEE0AC2B990}"/>
              </a:ext>
            </a:extLst>
          </p:cNvPr>
          <p:cNvSpPr>
            <a:spLocks noGrp="1"/>
          </p:cNvSpPr>
          <p:nvPr>
            <p:ph sz="quarter" idx="15"/>
          </p:nvPr>
        </p:nvSpPr>
        <p:spPr/>
        <p:txBody>
          <a:bodyPr/>
          <a:lstStyle/>
          <a:p>
            <a:pPr marL="0" indent="0">
              <a:buNone/>
            </a:pPr>
            <a:r>
              <a:rPr lang="en-US" dirty="0">
                <a:solidFill>
                  <a:schemeClr val="tx1"/>
                </a:solidFill>
              </a:rPr>
              <a:t>People read emails in different ways and use different devices to do so. Some people use;</a:t>
            </a:r>
          </a:p>
          <a:p>
            <a:r>
              <a:rPr lang="en-US" dirty="0">
                <a:solidFill>
                  <a:schemeClr val="tx1"/>
                </a:solidFill>
              </a:rPr>
              <a:t>A screen reader, while others use magnification</a:t>
            </a:r>
          </a:p>
          <a:p>
            <a:r>
              <a:rPr lang="en-US" dirty="0">
                <a:solidFill>
                  <a:schemeClr val="tx1"/>
                </a:solidFill>
              </a:rPr>
              <a:t>High-contrast settings</a:t>
            </a:r>
          </a:p>
          <a:p>
            <a:r>
              <a:rPr lang="en-US" dirty="0">
                <a:solidFill>
                  <a:schemeClr val="tx1"/>
                </a:solidFill>
              </a:rPr>
              <a:t>Tools to help with complex words or phrases</a:t>
            </a:r>
          </a:p>
        </p:txBody>
      </p:sp>
      <p:pic>
        <p:nvPicPr>
          <p:cNvPr id="8" name="Picture 7">
            <a:extLst>
              <a:ext uri="{FF2B5EF4-FFF2-40B4-BE49-F238E27FC236}">
                <a16:creationId xmlns:a16="http://schemas.microsoft.com/office/drawing/2014/main" id="{1C8E733F-6B14-4477-BA77-6300E3F28092}"/>
              </a:ext>
              <a:ext uri="{C183D7F6-B498-43B3-948B-1728B52AA6E4}">
                <adec:decorative xmlns:adec="http://schemas.microsoft.com/office/drawing/2017/decorative" val="1"/>
              </a:ext>
            </a:extLst>
          </p:cNvPr>
          <p:cNvPicPr>
            <a:picLocks noChangeAspect="1"/>
          </p:cNvPicPr>
          <p:nvPr/>
        </p:nvPicPr>
        <p:blipFill rotWithShape="1">
          <a:blip r:embed="rId3"/>
          <a:srcRect t="2498"/>
          <a:stretch/>
        </p:blipFill>
        <p:spPr>
          <a:xfrm>
            <a:off x="5375920" y="0"/>
            <a:ext cx="1634608" cy="1344751"/>
          </a:xfrm>
          <a:prstGeom prst="rect">
            <a:avLst/>
          </a:prstGeom>
        </p:spPr>
      </p:pic>
      <p:pic>
        <p:nvPicPr>
          <p:cNvPr id="9" name="Picture 8">
            <a:extLst>
              <a:ext uri="{FF2B5EF4-FFF2-40B4-BE49-F238E27FC236}">
                <a16:creationId xmlns:a16="http://schemas.microsoft.com/office/drawing/2014/main" id="{554BB922-7536-4491-A4A2-CBCEAB90EB17}"/>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3990681" y="5284961"/>
            <a:ext cx="4210638" cy="1600423"/>
          </a:xfrm>
          <a:prstGeom prst="rect">
            <a:avLst/>
          </a:prstGeom>
        </p:spPr>
      </p:pic>
      <p:pic>
        <p:nvPicPr>
          <p:cNvPr id="10" name="Picture 9">
            <a:extLst>
              <a:ext uri="{FF2B5EF4-FFF2-40B4-BE49-F238E27FC236}">
                <a16:creationId xmlns:a16="http://schemas.microsoft.com/office/drawing/2014/main" id="{4D919F2E-9357-4D6D-BAD1-F59F7796600A}"/>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11229841" y="2828295"/>
            <a:ext cx="962159" cy="2210108"/>
          </a:xfrm>
          <a:prstGeom prst="rect">
            <a:avLst/>
          </a:prstGeom>
        </p:spPr>
      </p:pic>
      <p:pic>
        <p:nvPicPr>
          <p:cNvPr id="7" name="Picture Placeholder 6" descr="Laptop showing the Outlook logo">
            <a:extLst>
              <a:ext uri="{FF2B5EF4-FFF2-40B4-BE49-F238E27FC236}">
                <a16:creationId xmlns:a16="http://schemas.microsoft.com/office/drawing/2014/main" id="{240F5EE9-535D-4D40-96C4-06F716B721DB}"/>
              </a:ext>
            </a:extLst>
          </p:cNvPr>
          <p:cNvPicPr>
            <a:picLocks noGrp="1" noChangeAspect="1"/>
          </p:cNvPicPr>
          <p:nvPr>
            <p:ph type="pic" sz="quarter" idx="14"/>
          </p:nvPr>
        </p:nvPicPr>
        <p:blipFill rotWithShape="1">
          <a:blip r:embed="rId6">
            <a:extLst>
              <a:ext uri="{28A0092B-C50C-407E-A947-70E740481C1C}">
                <a14:useLocalDpi xmlns:a14="http://schemas.microsoft.com/office/drawing/2010/main" val="0"/>
              </a:ext>
            </a:extLst>
          </a:blip>
          <a:srcRect l="14400" t="627" r="29869" b="-627"/>
          <a:stretch/>
        </p:blipFill>
        <p:spPr>
          <a:xfrm>
            <a:off x="5767320" y="473074"/>
            <a:ext cx="5943600" cy="5943600"/>
          </a:xfrm>
        </p:spPr>
      </p:pic>
    </p:spTree>
    <p:extLst>
      <p:ext uri="{BB962C8B-B14F-4D97-AF65-F5344CB8AC3E}">
        <p14:creationId xmlns:p14="http://schemas.microsoft.com/office/powerpoint/2010/main" val="146077574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Flowchart: Terminator 10">
            <a:extLst>
              <a:ext uri="{FF2B5EF4-FFF2-40B4-BE49-F238E27FC236}">
                <a16:creationId xmlns:a16="http://schemas.microsoft.com/office/drawing/2014/main" id="{6310967A-3A7A-4687-8680-A669FEAE77B3}"/>
              </a:ext>
              <a:ext uri="{C183D7F6-B498-43B3-948B-1728B52AA6E4}">
                <adec:decorative xmlns:adec="http://schemas.microsoft.com/office/drawing/2017/decorative" val="1"/>
              </a:ext>
            </a:extLst>
          </p:cNvPr>
          <p:cNvSpPr/>
          <p:nvPr/>
        </p:nvSpPr>
        <p:spPr>
          <a:xfrm rot="19943798">
            <a:off x="2063685" y="5644499"/>
            <a:ext cx="5874818" cy="1443750"/>
          </a:xfrm>
          <a:prstGeom prst="flowChartTerminator">
            <a:avLst/>
          </a:prstGeom>
          <a:solidFill>
            <a:srgbClr val="5000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 name="Title 1">
            <a:extLst>
              <a:ext uri="{FF2B5EF4-FFF2-40B4-BE49-F238E27FC236}">
                <a16:creationId xmlns:a16="http://schemas.microsoft.com/office/drawing/2014/main" id="{E21C9CA3-B3F9-4F2B-8C7E-852618900FCD}"/>
              </a:ext>
            </a:extLst>
          </p:cNvPr>
          <p:cNvSpPr>
            <a:spLocks noGrp="1"/>
          </p:cNvSpPr>
          <p:nvPr>
            <p:ph type="title"/>
          </p:nvPr>
        </p:nvSpPr>
        <p:spPr/>
        <p:txBody>
          <a:bodyPr/>
          <a:lstStyle/>
          <a:p>
            <a:r>
              <a:rPr lang="en-GB" dirty="0">
                <a:solidFill>
                  <a:srgbClr val="0C7972"/>
                </a:solidFill>
              </a:rPr>
              <a:t>Subject line</a:t>
            </a:r>
            <a:endParaRPr lang="en-US" dirty="0">
              <a:solidFill>
                <a:srgbClr val="0C7972"/>
              </a:solidFill>
            </a:endParaRPr>
          </a:p>
        </p:txBody>
      </p:sp>
      <p:sp>
        <p:nvSpPr>
          <p:cNvPr id="3" name="Content Placeholder 2">
            <a:extLst>
              <a:ext uri="{FF2B5EF4-FFF2-40B4-BE49-F238E27FC236}">
                <a16:creationId xmlns:a16="http://schemas.microsoft.com/office/drawing/2014/main" id="{01AE7EA5-A9FA-4C7E-8912-72F4CE9276F6}"/>
              </a:ext>
            </a:extLst>
          </p:cNvPr>
          <p:cNvSpPr>
            <a:spLocks noGrp="1"/>
          </p:cNvSpPr>
          <p:nvPr>
            <p:ph sz="half" idx="1"/>
          </p:nvPr>
        </p:nvSpPr>
        <p:spPr/>
        <p:txBody>
          <a:bodyPr/>
          <a:lstStyle/>
          <a:p>
            <a:r>
              <a:rPr lang="en-GB" dirty="0"/>
              <a:t>Ensure the subject line is clear and relevant to your content. This helps;</a:t>
            </a:r>
          </a:p>
          <a:p>
            <a:pPr lvl="1"/>
            <a:r>
              <a:rPr lang="en-GB" dirty="0"/>
              <a:t>Everyone understand what the email is about</a:t>
            </a:r>
          </a:p>
          <a:p>
            <a:pPr lvl="1"/>
            <a:r>
              <a:rPr lang="en-GB" dirty="0"/>
              <a:t>You and the receiver search the inbox to retrieve the information later</a:t>
            </a:r>
          </a:p>
          <a:p>
            <a:r>
              <a:rPr lang="en-GB" dirty="0"/>
              <a:t>If your email is important and/or urgent make this clear</a:t>
            </a:r>
          </a:p>
        </p:txBody>
      </p:sp>
      <p:sp>
        <p:nvSpPr>
          <p:cNvPr id="5" name="Slide Number Placeholder 4">
            <a:extLst>
              <a:ext uri="{FF2B5EF4-FFF2-40B4-BE49-F238E27FC236}">
                <a16:creationId xmlns:a16="http://schemas.microsoft.com/office/drawing/2014/main" id="{024773C0-4839-4900-9F32-E3B62B5E1BCC}"/>
              </a:ext>
            </a:extLst>
          </p:cNvPr>
          <p:cNvSpPr>
            <a:spLocks noGrp="1"/>
          </p:cNvSpPr>
          <p:nvPr>
            <p:ph type="sldNum" sz="quarter" idx="12"/>
          </p:nvPr>
        </p:nvSpPr>
        <p:spPr/>
        <p:txBody>
          <a:bodyPr/>
          <a:lstStyle/>
          <a:p>
            <a:pPr marL="0" marR="0" lvl="0" indent="0" algn="r" defTabSz="914400" rtl="0" eaLnBrk="1" fontAlgn="auto" latinLnBrk="0" hangingPunct="1">
              <a:lnSpc>
                <a:spcPts val="970"/>
              </a:lnSpc>
              <a:spcBef>
                <a:spcPts val="0"/>
              </a:spcBef>
              <a:spcAft>
                <a:spcPts val="0"/>
              </a:spcAft>
              <a:buClrTx/>
              <a:buSzTx/>
              <a:buFontTx/>
              <a:buNone/>
              <a:tabLst/>
              <a:defRPr/>
            </a:pPr>
            <a:fld id="{24A935F8-6F02-46CF-898B-F9D6B7DB9D8E}" type="slidenum">
              <a:rPr kumimoji="0" lang="en-GB" sz="800" b="0" i="0" u="none" strike="noStrike" kern="1200" cap="none" spc="0" normalizeH="0" baseline="0" noProof="0" smtClean="0">
                <a:ln>
                  <a:noFill/>
                </a:ln>
                <a:solidFill>
                  <a:srgbClr val="FFFFFF"/>
                </a:solidFill>
                <a:effectLst/>
                <a:uLnTx/>
                <a:uFillTx/>
                <a:latin typeface="Arial"/>
                <a:ea typeface="+mn-ea"/>
                <a:cs typeface="+mn-cs"/>
              </a:rPr>
              <a:pPr marL="0" marR="0" lvl="0" indent="0" algn="r" defTabSz="914400" rtl="0" eaLnBrk="1" fontAlgn="auto" latinLnBrk="0" hangingPunct="1">
                <a:lnSpc>
                  <a:spcPts val="970"/>
                </a:lnSpc>
                <a:spcBef>
                  <a:spcPts val="0"/>
                </a:spcBef>
                <a:spcAft>
                  <a:spcPts val="0"/>
                </a:spcAft>
                <a:buClrTx/>
                <a:buSzTx/>
                <a:buFontTx/>
                <a:buNone/>
                <a:tabLst/>
                <a:defRPr/>
              </a:pPr>
              <a:t>3</a:t>
            </a:fld>
            <a:endParaRPr kumimoji="0" lang="en-GB" sz="800" b="0" i="0" u="none" strike="noStrike" kern="1200" cap="none" spc="0" normalizeH="0" baseline="0" noProof="0">
              <a:ln>
                <a:noFill/>
              </a:ln>
              <a:solidFill>
                <a:srgbClr val="FFFFFF"/>
              </a:solidFill>
              <a:effectLst/>
              <a:uLnTx/>
              <a:uFillTx/>
              <a:latin typeface="Arial"/>
              <a:ea typeface="+mn-ea"/>
              <a:cs typeface="+mn-cs"/>
            </a:endParaRPr>
          </a:p>
        </p:txBody>
      </p:sp>
      <p:sp>
        <p:nvSpPr>
          <p:cNvPr id="9" name="Flowchart: Terminator 8">
            <a:extLst>
              <a:ext uri="{FF2B5EF4-FFF2-40B4-BE49-F238E27FC236}">
                <a16:creationId xmlns:a16="http://schemas.microsoft.com/office/drawing/2014/main" id="{5CF951E7-9AD0-4736-919D-AE12FEFA48CF}"/>
              </a:ext>
              <a:ext uri="{C183D7F6-B498-43B3-948B-1728B52AA6E4}">
                <adec:decorative xmlns:adec="http://schemas.microsoft.com/office/drawing/2017/decorative" val="1"/>
              </a:ext>
            </a:extLst>
          </p:cNvPr>
          <p:cNvSpPr/>
          <p:nvPr/>
        </p:nvSpPr>
        <p:spPr>
          <a:xfrm rot="19943798">
            <a:off x="5624991" y="-1002616"/>
            <a:ext cx="5400600" cy="1692595"/>
          </a:xfrm>
          <a:prstGeom prst="flowChartTerminator">
            <a:avLst/>
          </a:prstGeom>
          <a:solidFill>
            <a:srgbClr val="EF476F">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0" name="Circle: Hollow 9">
            <a:extLst>
              <a:ext uri="{FF2B5EF4-FFF2-40B4-BE49-F238E27FC236}">
                <a16:creationId xmlns:a16="http://schemas.microsoft.com/office/drawing/2014/main" id="{A402DA1C-59CD-420B-B22A-F99DE79C47E5}"/>
              </a:ext>
              <a:ext uri="{C183D7F6-B498-43B3-948B-1728B52AA6E4}">
                <adec:decorative xmlns:adec="http://schemas.microsoft.com/office/drawing/2017/decorative" val="1"/>
              </a:ext>
            </a:extLst>
          </p:cNvPr>
          <p:cNvSpPr/>
          <p:nvPr/>
        </p:nvSpPr>
        <p:spPr>
          <a:xfrm>
            <a:off x="-1032792" y="3994915"/>
            <a:ext cx="1800200" cy="1800000"/>
          </a:xfrm>
          <a:prstGeom prst="donut">
            <a:avLst>
              <a:gd name="adj" fmla="val 16352"/>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pic>
        <p:nvPicPr>
          <p:cNvPr id="12" name="Picture 11" descr="Example subject line, Clear and Relevant emails - Training Docs">
            <a:extLst>
              <a:ext uri="{FF2B5EF4-FFF2-40B4-BE49-F238E27FC236}">
                <a16:creationId xmlns:a16="http://schemas.microsoft.com/office/drawing/2014/main" id="{43DFBFA0-EB78-4651-8500-830B32EAC840}"/>
              </a:ext>
            </a:extLst>
          </p:cNvPr>
          <p:cNvPicPr>
            <a:picLocks noChangeAspect="1"/>
          </p:cNvPicPr>
          <p:nvPr/>
        </p:nvPicPr>
        <p:blipFill>
          <a:blip r:embed="rId3"/>
          <a:stretch>
            <a:fillRect/>
          </a:stretch>
        </p:blipFill>
        <p:spPr>
          <a:xfrm>
            <a:off x="7273248" y="2038333"/>
            <a:ext cx="4444369" cy="2133785"/>
          </a:xfrm>
          <a:prstGeom prst="rect">
            <a:avLst/>
          </a:prstGeom>
        </p:spPr>
      </p:pic>
    </p:spTree>
    <p:extLst>
      <p:ext uri="{BB962C8B-B14F-4D97-AF65-F5344CB8AC3E}">
        <p14:creationId xmlns:p14="http://schemas.microsoft.com/office/powerpoint/2010/main" val="205178284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lowchart: Terminator 7">
            <a:extLst>
              <a:ext uri="{FF2B5EF4-FFF2-40B4-BE49-F238E27FC236}">
                <a16:creationId xmlns:a16="http://schemas.microsoft.com/office/drawing/2014/main" id="{3C65D897-5F37-4746-934F-DDDB9A41C03D}"/>
              </a:ext>
              <a:ext uri="{C183D7F6-B498-43B3-948B-1728B52AA6E4}">
                <adec:decorative xmlns:adec="http://schemas.microsoft.com/office/drawing/2017/decorative" val="1"/>
              </a:ext>
            </a:extLst>
          </p:cNvPr>
          <p:cNvSpPr/>
          <p:nvPr/>
        </p:nvSpPr>
        <p:spPr>
          <a:xfrm rot="19943798">
            <a:off x="9062532" y="-744741"/>
            <a:ext cx="5400600" cy="1692595"/>
          </a:xfrm>
          <a:prstGeom prst="flowChartTerminator">
            <a:avLst/>
          </a:prstGeom>
          <a:solidFill>
            <a:schemeClr val="accent5">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 name="Title 1">
            <a:extLst>
              <a:ext uri="{FF2B5EF4-FFF2-40B4-BE49-F238E27FC236}">
                <a16:creationId xmlns:a16="http://schemas.microsoft.com/office/drawing/2014/main" id="{D6302376-4ED3-4AA8-B5C7-5BCAC38DDF32}"/>
              </a:ext>
            </a:extLst>
          </p:cNvPr>
          <p:cNvSpPr>
            <a:spLocks noGrp="1"/>
          </p:cNvSpPr>
          <p:nvPr>
            <p:ph type="title"/>
          </p:nvPr>
        </p:nvSpPr>
        <p:spPr/>
        <p:txBody>
          <a:bodyPr/>
          <a:lstStyle/>
          <a:p>
            <a:r>
              <a:rPr lang="en-GB" dirty="0">
                <a:solidFill>
                  <a:srgbClr val="0C7972"/>
                </a:solidFill>
              </a:rPr>
              <a:t>Use heading styles</a:t>
            </a:r>
            <a:endParaRPr lang="en-US" dirty="0">
              <a:solidFill>
                <a:srgbClr val="0C7972"/>
              </a:solidFill>
            </a:endParaRPr>
          </a:p>
        </p:txBody>
      </p:sp>
      <p:sp>
        <p:nvSpPr>
          <p:cNvPr id="3" name="Content Placeholder 2">
            <a:extLst>
              <a:ext uri="{FF2B5EF4-FFF2-40B4-BE49-F238E27FC236}">
                <a16:creationId xmlns:a16="http://schemas.microsoft.com/office/drawing/2014/main" id="{1E61F456-8850-448E-B482-E5ABF8FCCE00}"/>
              </a:ext>
            </a:extLst>
          </p:cNvPr>
          <p:cNvSpPr>
            <a:spLocks noGrp="1"/>
          </p:cNvSpPr>
          <p:nvPr>
            <p:ph sz="half" idx="1"/>
          </p:nvPr>
        </p:nvSpPr>
        <p:spPr>
          <a:xfrm>
            <a:off x="442914" y="1376364"/>
            <a:ext cx="11278686" cy="4789486"/>
          </a:xfrm>
        </p:spPr>
        <p:txBody>
          <a:bodyPr/>
          <a:lstStyle/>
          <a:p>
            <a:pPr marL="0" indent="0">
              <a:lnSpc>
                <a:spcPct val="107000"/>
              </a:lnSpc>
              <a:spcAft>
                <a:spcPts val="800"/>
              </a:spcAft>
              <a:buNone/>
            </a:pPr>
            <a:r>
              <a:rPr lang="en-GB" kern="100" dirty="0">
                <a:ea typeface="Yu Mincho" panose="02020400000000000000" pitchFamily="18" charset="-128"/>
                <a:cs typeface="Arial" panose="020B0604020202020204" pitchFamily="34" charset="0"/>
              </a:rPr>
              <a:t>Use heading styles as you would for word documents for long emails. </a:t>
            </a:r>
          </a:p>
          <a:p>
            <a:pPr marL="0" indent="0">
              <a:lnSpc>
                <a:spcPct val="107000"/>
              </a:lnSpc>
              <a:spcAft>
                <a:spcPts val="800"/>
              </a:spcAft>
              <a:buNone/>
            </a:pPr>
            <a:r>
              <a:rPr lang="en-GB" kern="100" dirty="0">
                <a:ea typeface="Yu Mincho" panose="02020400000000000000" pitchFamily="18" charset="-128"/>
                <a:cs typeface="Arial" panose="020B0604020202020204" pitchFamily="34" charset="0"/>
              </a:rPr>
              <a:t>For long emails, use a heading hierarchy e.g., Heading 2 and Heading 3. Having a consistent heading structure is always helpful. This can be helpful for items such as newsletter emails where you might also have a table of contents</a:t>
            </a:r>
          </a:p>
          <a:p>
            <a:pPr marL="0" indent="0">
              <a:lnSpc>
                <a:spcPct val="107000"/>
              </a:lnSpc>
              <a:spcAft>
                <a:spcPts val="800"/>
              </a:spcAft>
              <a:buNone/>
            </a:pPr>
            <a:r>
              <a:rPr lang="en-GB" kern="100" dirty="0">
                <a:ea typeface="Yu Mincho" panose="02020400000000000000" pitchFamily="18" charset="-128"/>
                <a:cs typeface="Arial" panose="020B0604020202020204" pitchFamily="34" charset="0"/>
              </a:rPr>
              <a:t>They’re important because they help;</a:t>
            </a:r>
          </a:p>
          <a:p>
            <a:pPr>
              <a:lnSpc>
                <a:spcPct val="107000"/>
              </a:lnSpc>
              <a:spcAft>
                <a:spcPts val="800"/>
              </a:spcAft>
            </a:pPr>
            <a:r>
              <a:rPr lang="en-GB" kern="100" dirty="0">
                <a:ea typeface="Yu Mincho" panose="02020400000000000000" pitchFamily="18" charset="-128"/>
                <a:cs typeface="Arial" panose="020B0604020202020204" pitchFamily="34" charset="0"/>
              </a:rPr>
              <a:t>Screen reader users navigate to different information within the body of the email. Some screen reader users exclusively use headings and links to jump to the part of the email that’s relevant to them.</a:t>
            </a:r>
          </a:p>
          <a:p>
            <a:pPr>
              <a:lnSpc>
                <a:spcPct val="107000"/>
              </a:lnSpc>
              <a:spcAft>
                <a:spcPts val="800"/>
              </a:spcAft>
            </a:pPr>
            <a:r>
              <a:rPr lang="en-GB" kern="100" dirty="0">
                <a:ea typeface="Yu Mincho" panose="02020400000000000000" pitchFamily="18" charset="-128"/>
                <a:cs typeface="Arial" panose="020B0604020202020204" pitchFamily="34" charset="0"/>
              </a:rPr>
              <a:t>Break up the content visually </a:t>
            </a:r>
          </a:p>
          <a:p>
            <a:endParaRPr lang="en-US" dirty="0"/>
          </a:p>
        </p:txBody>
      </p:sp>
      <p:sp>
        <p:nvSpPr>
          <p:cNvPr id="5" name="Slide Number Placeholder 4">
            <a:extLst>
              <a:ext uri="{FF2B5EF4-FFF2-40B4-BE49-F238E27FC236}">
                <a16:creationId xmlns:a16="http://schemas.microsoft.com/office/drawing/2014/main" id="{60BC5F83-2C13-4716-9434-4F0F8F00C2C3}"/>
              </a:ext>
            </a:extLst>
          </p:cNvPr>
          <p:cNvSpPr>
            <a:spLocks noGrp="1"/>
          </p:cNvSpPr>
          <p:nvPr>
            <p:ph type="sldNum" sz="quarter" idx="12"/>
          </p:nvPr>
        </p:nvSpPr>
        <p:spPr/>
        <p:txBody>
          <a:bodyPr/>
          <a:lstStyle/>
          <a:p>
            <a:pPr marL="0" marR="0" lvl="0" indent="0" algn="r" defTabSz="914400" rtl="0" eaLnBrk="1" fontAlgn="auto" latinLnBrk="0" hangingPunct="1">
              <a:lnSpc>
                <a:spcPts val="970"/>
              </a:lnSpc>
              <a:spcBef>
                <a:spcPts val="0"/>
              </a:spcBef>
              <a:spcAft>
                <a:spcPts val="0"/>
              </a:spcAft>
              <a:buClrTx/>
              <a:buSzTx/>
              <a:buFontTx/>
              <a:buNone/>
              <a:tabLst/>
              <a:defRPr/>
            </a:pPr>
            <a:fld id="{24A935F8-6F02-46CF-898B-F9D6B7DB9D8E}" type="slidenum">
              <a:rPr kumimoji="0" lang="en-GB" sz="800" b="0" i="0" u="none" strike="noStrike" kern="1200" cap="none" spc="0" normalizeH="0" baseline="0" noProof="0" smtClean="0">
                <a:ln>
                  <a:noFill/>
                </a:ln>
                <a:solidFill>
                  <a:srgbClr val="FFFFFF"/>
                </a:solidFill>
                <a:effectLst/>
                <a:uLnTx/>
                <a:uFillTx/>
                <a:latin typeface="Arial"/>
                <a:ea typeface="+mn-ea"/>
                <a:cs typeface="+mn-cs"/>
              </a:rPr>
              <a:pPr marL="0" marR="0" lvl="0" indent="0" algn="r" defTabSz="914400" rtl="0" eaLnBrk="1" fontAlgn="auto" latinLnBrk="0" hangingPunct="1">
                <a:lnSpc>
                  <a:spcPts val="970"/>
                </a:lnSpc>
                <a:spcBef>
                  <a:spcPts val="0"/>
                </a:spcBef>
                <a:spcAft>
                  <a:spcPts val="0"/>
                </a:spcAft>
                <a:buClrTx/>
                <a:buSzTx/>
                <a:buFontTx/>
                <a:buNone/>
                <a:tabLst/>
                <a:defRPr/>
              </a:pPr>
              <a:t>4</a:t>
            </a:fld>
            <a:endParaRPr kumimoji="0" lang="en-GB" sz="800" b="0" i="0" u="none" strike="noStrike" kern="1200" cap="none" spc="0" normalizeH="0" baseline="0" noProof="0">
              <a:ln>
                <a:noFill/>
              </a:ln>
              <a:solidFill>
                <a:srgbClr val="FFFFFF"/>
              </a:solidFill>
              <a:effectLst/>
              <a:uLnTx/>
              <a:uFillTx/>
              <a:latin typeface="Arial"/>
              <a:ea typeface="+mn-ea"/>
              <a:cs typeface="+mn-cs"/>
            </a:endParaRPr>
          </a:p>
        </p:txBody>
      </p:sp>
      <p:sp>
        <p:nvSpPr>
          <p:cNvPr id="7" name="Circle: Hollow 6">
            <a:extLst>
              <a:ext uri="{FF2B5EF4-FFF2-40B4-BE49-F238E27FC236}">
                <a16:creationId xmlns:a16="http://schemas.microsoft.com/office/drawing/2014/main" id="{BA056F1E-F6B0-4B10-8F49-FAD7220882A3}"/>
              </a:ext>
              <a:ext uri="{C183D7F6-B498-43B3-948B-1728B52AA6E4}">
                <adec:decorative xmlns:adec="http://schemas.microsoft.com/office/drawing/2017/decorative" val="1"/>
              </a:ext>
            </a:extLst>
          </p:cNvPr>
          <p:cNvSpPr/>
          <p:nvPr/>
        </p:nvSpPr>
        <p:spPr>
          <a:xfrm>
            <a:off x="-900100" y="5727600"/>
            <a:ext cx="1800200" cy="1800000"/>
          </a:xfrm>
          <a:prstGeom prst="donut">
            <a:avLst>
              <a:gd name="adj" fmla="val 16352"/>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pic>
        <p:nvPicPr>
          <p:cNvPr id="4" name="Picture 3" descr="Headings menu">
            <a:extLst>
              <a:ext uri="{FF2B5EF4-FFF2-40B4-BE49-F238E27FC236}">
                <a16:creationId xmlns:a16="http://schemas.microsoft.com/office/drawing/2014/main" id="{471C3CBE-41AA-47C7-9F22-148EB2E37AF5}"/>
              </a:ext>
            </a:extLst>
          </p:cNvPr>
          <p:cNvPicPr>
            <a:picLocks noChangeAspect="1"/>
          </p:cNvPicPr>
          <p:nvPr/>
        </p:nvPicPr>
        <p:blipFill>
          <a:blip r:embed="rId2"/>
          <a:stretch>
            <a:fillRect/>
          </a:stretch>
        </p:blipFill>
        <p:spPr>
          <a:xfrm>
            <a:off x="2156863" y="5379889"/>
            <a:ext cx="7878274" cy="695422"/>
          </a:xfrm>
          <a:prstGeom prst="rect">
            <a:avLst/>
          </a:prstGeom>
        </p:spPr>
      </p:pic>
    </p:spTree>
    <p:extLst>
      <p:ext uri="{BB962C8B-B14F-4D97-AF65-F5344CB8AC3E}">
        <p14:creationId xmlns:p14="http://schemas.microsoft.com/office/powerpoint/2010/main" val="409132538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A37D38-811D-40EB-B1AB-079736B4B7B3}"/>
              </a:ext>
            </a:extLst>
          </p:cNvPr>
          <p:cNvSpPr>
            <a:spLocks noGrp="1"/>
          </p:cNvSpPr>
          <p:nvPr>
            <p:ph type="title"/>
          </p:nvPr>
        </p:nvSpPr>
        <p:spPr/>
        <p:txBody>
          <a:bodyPr/>
          <a:lstStyle/>
          <a:p>
            <a:r>
              <a:rPr lang="en-GB" dirty="0">
                <a:solidFill>
                  <a:srgbClr val="0C7972"/>
                </a:solidFill>
              </a:rPr>
              <a:t>Use accessible colours</a:t>
            </a:r>
            <a:endParaRPr lang="en-US" dirty="0">
              <a:solidFill>
                <a:srgbClr val="0C7972"/>
              </a:solidFill>
            </a:endParaRPr>
          </a:p>
        </p:txBody>
      </p:sp>
      <p:sp>
        <p:nvSpPr>
          <p:cNvPr id="3" name="Content Placeholder 2">
            <a:extLst>
              <a:ext uri="{FF2B5EF4-FFF2-40B4-BE49-F238E27FC236}">
                <a16:creationId xmlns:a16="http://schemas.microsoft.com/office/drawing/2014/main" id="{85868C27-6DED-439E-9D7F-72238EC9FBEA}"/>
              </a:ext>
            </a:extLst>
          </p:cNvPr>
          <p:cNvSpPr>
            <a:spLocks noGrp="1"/>
          </p:cNvSpPr>
          <p:nvPr>
            <p:ph sz="half" idx="1"/>
          </p:nvPr>
        </p:nvSpPr>
        <p:spPr>
          <a:xfrm>
            <a:off x="442914" y="1376364"/>
            <a:ext cx="5501674" cy="5251235"/>
          </a:xfrm>
        </p:spPr>
        <p:txBody>
          <a:bodyPr>
            <a:normAutofit/>
          </a:bodyPr>
          <a:lstStyle/>
          <a:p>
            <a:pPr>
              <a:lnSpc>
                <a:spcPct val="107000"/>
              </a:lnSpc>
              <a:spcAft>
                <a:spcPts val="800"/>
              </a:spcAft>
            </a:pPr>
            <a:r>
              <a:rPr lang="en-GB" kern="100" dirty="0">
                <a:ea typeface="Yu Mincho" panose="02020400000000000000" pitchFamily="18" charset="-128"/>
                <a:cs typeface="Arial" panose="020B0604020202020204" pitchFamily="34" charset="0"/>
              </a:rPr>
              <a:t>Avoid using colour to convey meaning, for example, using red text to indicate urgency.	</a:t>
            </a:r>
          </a:p>
          <a:p>
            <a:pPr>
              <a:lnSpc>
                <a:spcPct val="107000"/>
              </a:lnSpc>
              <a:spcAft>
                <a:spcPts val="800"/>
              </a:spcAft>
            </a:pPr>
            <a:r>
              <a:rPr lang="en-GB" kern="100" dirty="0">
                <a:ea typeface="Yu Mincho" panose="02020400000000000000" pitchFamily="18" charset="-128"/>
                <a:cs typeface="Arial" panose="020B0604020202020204" pitchFamily="34" charset="0"/>
              </a:rPr>
              <a:t>Choose colours that give a good contrast if you need to use colour.</a:t>
            </a:r>
          </a:p>
          <a:p>
            <a:pPr>
              <a:lnSpc>
                <a:spcPct val="107000"/>
              </a:lnSpc>
              <a:spcAft>
                <a:spcPts val="800"/>
              </a:spcAft>
            </a:pPr>
            <a:r>
              <a:rPr lang="en-GB" kern="100" dirty="0">
                <a:ea typeface="Yu Mincho" panose="02020400000000000000" pitchFamily="18" charset="-128"/>
                <a:cs typeface="Arial" panose="020B0604020202020204" pitchFamily="34" charset="0"/>
              </a:rPr>
              <a:t>In Outlook, use the ‘Automatic’ setting for your email text. This means the text will display well even in high-contrast mode.</a:t>
            </a:r>
          </a:p>
          <a:p>
            <a:pPr marL="647700" lvl="1" indent="-342900">
              <a:lnSpc>
                <a:spcPct val="107000"/>
              </a:lnSpc>
            </a:pPr>
            <a:r>
              <a:rPr lang="en-GB" kern="100" dirty="0">
                <a:ea typeface="Yu Mincho" panose="02020400000000000000" pitchFamily="18" charset="-128"/>
                <a:cs typeface="Arial" panose="020B0604020202020204" pitchFamily="34" charset="0"/>
              </a:rPr>
              <a:t>Select your text.</a:t>
            </a:r>
          </a:p>
          <a:p>
            <a:pPr marL="647700" lvl="1" indent="-342900">
              <a:lnSpc>
                <a:spcPct val="107000"/>
              </a:lnSpc>
            </a:pPr>
            <a:r>
              <a:rPr lang="en-GB" kern="100" dirty="0">
                <a:ea typeface="Yu Mincho" panose="02020400000000000000" pitchFamily="18" charset="-128"/>
                <a:cs typeface="Arial" panose="020B0604020202020204" pitchFamily="34" charset="0"/>
              </a:rPr>
              <a:t>Select Message&gt; Font Colour.</a:t>
            </a:r>
          </a:p>
          <a:p>
            <a:pPr marL="647700" lvl="1" indent="-342900">
              <a:lnSpc>
                <a:spcPct val="107000"/>
              </a:lnSpc>
              <a:spcAft>
                <a:spcPts val="800"/>
              </a:spcAft>
            </a:pPr>
            <a:r>
              <a:rPr lang="en-GB" kern="100" dirty="0">
                <a:ea typeface="Yu Mincho" panose="02020400000000000000" pitchFamily="18" charset="-128"/>
                <a:cs typeface="Arial" panose="020B0604020202020204" pitchFamily="34" charset="0"/>
              </a:rPr>
              <a:t>Select Automatic.</a:t>
            </a:r>
          </a:p>
          <a:p>
            <a:endParaRPr lang="en-US" dirty="0"/>
          </a:p>
        </p:txBody>
      </p:sp>
      <p:sp>
        <p:nvSpPr>
          <p:cNvPr id="5" name="Slide Number Placeholder 4">
            <a:extLst>
              <a:ext uri="{FF2B5EF4-FFF2-40B4-BE49-F238E27FC236}">
                <a16:creationId xmlns:a16="http://schemas.microsoft.com/office/drawing/2014/main" id="{AAED09B8-55E7-4945-828A-301ECECEEAB6}"/>
              </a:ext>
            </a:extLst>
          </p:cNvPr>
          <p:cNvSpPr>
            <a:spLocks noGrp="1"/>
          </p:cNvSpPr>
          <p:nvPr>
            <p:ph type="sldNum" sz="quarter" idx="12"/>
          </p:nvPr>
        </p:nvSpPr>
        <p:spPr/>
        <p:txBody>
          <a:bodyPr/>
          <a:lstStyle/>
          <a:p>
            <a:pPr marL="0" marR="0" lvl="0" indent="0" algn="r" defTabSz="914400" rtl="0" eaLnBrk="1" fontAlgn="auto" latinLnBrk="0" hangingPunct="1">
              <a:lnSpc>
                <a:spcPts val="970"/>
              </a:lnSpc>
              <a:spcBef>
                <a:spcPts val="0"/>
              </a:spcBef>
              <a:spcAft>
                <a:spcPts val="0"/>
              </a:spcAft>
              <a:buClrTx/>
              <a:buSzTx/>
              <a:buFontTx/>
              <a:buNone/>
              <a:tabLst/>
              <a:defRPr/>
            </a:pPr>
            <a:fld id="{24A935F8-6F02-46CF-898B-F9D6B7DB9D8E}" type="slidenum">
              <a:rPr kumimoji="0" lang="en-GB" sz="800" b="0" i="0" u="none" strike="noStrike" kern="1200" cap="none" spc="0" normalizeH="0" baseline="0" noProof="0" smtClean="0">
                <a:ln>
                  <a:noFill/>
                </a:ln>
                <a:solidFill>
                  <a:srgbClr val="FFFFFF"/>
                </a:solidFill>
                <a:effectLst/>
                <a:uLnTx/>
                <a:uFillTx/>
                <a:latin typeface="Arial"/>
                <a:ea typeface="+mn-ea"/>
                <a:cs typeface="+mn-cs"/>
              </a:rPr>
              <a:pPr marL="0" marR="0" lvl="0" indent="0" algn="r" defTabSz="914400" rtl="0" eaLnBrk="1" fontAlgn="auto" latinLnBrk="0" hangingPunct="1">
                <a:lnSpc>
                  <a:spcPts val="970"/>
                </a:lnSpc>
                <a:spcBef>
                  <a:spcPts val="0"/>
                </a:spcBef>
                <a:spcAft>
                  <a:spcPts val="0"/>
                </a:spcAft>
                <a:buClrTx/>
                <a:buSzTx/>
                <a:buFontTx/>
                <a:buNone/>
                <a:tabLst/>
                <a:defRPr/>
              </a:pPr>
              <a:t>5</a:t>
            </a:fld>
            <a:endParaRPr kumimoji="0" lang="en-GB" sz="800" b="0" i="0" u="none" strike="noStrike" kern="1200" cap="none" spc="0" normalizeH="0" baseline="0" noProof="0">
              <a:ln>
                <a:noFill/>
              </a:ln>
              <a:solidFill>
                <a:srgbClr val="FFFFFF"/>
              </a:solidFill>
              <a:effectLst/>
              <a:uLnTx/>
              <a:uFillTx/>
              <a:latin typeface="Arial"/>
              <a:ea typeface="+mn-ea"/>
              <a:cs typeface="+mn-cs"/>
            </a:endParaRPr>
          </a:p>
        </p:txBody>
      </p:sp>
      <p:sp>
        <p:nvSpPr>
          <p:cNvPr id="11" name="Circle: Hollow 10">
            <a:extLst>
              <a:ext uri="{FF2B5EF4-FFF2-40B4-BE49-F238E27FC236}">
                <a16:creationId xmlns:a16="http://schemas.microsoft.com/office/drawing/2014/main" id="{BADEB318-6C87-4073-B44D-2AD44D0E8CC5}"/>
              </a:ext>
              <a:ext uri="{C183D7F6-B498-43B3-948B-1728B52AA6E4}">
                <adec:decorative xmlns:adec="http://schemas.microsoft.com/office/drawing/2017/decorative" val="1"/>
              </a:ext>
            </a:extLst>
          </p:cNvPr>
          <p:cNvSpPr/>
          <p:nvPr/>
        </p:nvSpPr>
        <p:spPr>
          <a:xfrm>
            <a:off x="10992544" y="-458675"/>
            <a:ext cx="1800200" cy="1800000"/>
          </a:xfrm>
          <a:prstGeom prst="donut">
            <a:avLst>
              <a:gd name="adj" fmla="val 16352"/>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pic>
        <p:nvPicPr>
          <p:cNvPr id="8" name="Picture 2" descr="Colour Contrast Chart showing 4 examples of good and bad practice">
            <a:extLst>
              <a:ext uri="{FF2B5EF4-FFF2-40B4-BE49-F238E27FC236}">
                <a16:creationId xmlns:a16="http://schemas.microsoft.com/office/drawing/2014/main" id="{3657B363-CB12-4D80-833E-773E0EBB951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47413" y="1914986"/>
            <a:ext cx="5252787" cy="3028028"/>
          </a:xfrm>
          <a:prstGeom prst="rect">
            <a:avLst/>
          </a:prstGeom>
          <a:noFill/>
          <a:extLst>
            <a:ext uri="{909E8E84-426E-40DD-AFC4-6F175D3DCCD1}">
              <a14:hiddenFill xmlns:a14="http://schemas.microsoft.com/office/drawing/2010/main">
                <a:solidFill>
                  <a:srgbClr val="FFFFFF"/>
                </a:solidFill>
              </a14:hiddenFill>
            </a:ext>
          </a:extLst>
        </p:spPr>
      </p:pic>
      <p:sp>
        <p:nvSpPr>
          <p:cNvPr id="12" name="Flowchart: Terminator 11">
            <a:extLst>
              <a:ext uri="{FF2B5EF4-FFF2-40B4-BE49-F238E27FC236}">
                <a16:creationId xmlns:a16="http://schemas.microsoft.com/office/drawing/2014/main" id="{5E2A86AE-F885-47CF-81A0-89B8D03AD50A}"/>
              </a:ext>
              <a:ext uri="{C183D7F6-B498-43B3-948B-1728B52AA6E4}">
                <adec:decorative xmlns:adec="http://schemas.microsoft.com/office/drawing/2017/decorative" val="1"/>
              </a:ext>
            </a:extLst>
          </p:cNvPr>
          <p:cNvSpPr/>
          <p:nvPr/>
        </p:nvSpPr>
        <p:spPr>
          <a:xfrm rot="19943798">
            <a:off x="-312579" y="6221890"/>
            <a:ext cx="5874818" cy="1443750"/>
          </a:xfrm>
          <a:prstGeom prst="flowChartTerminator">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9304619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lowchart: Terminator 9">
            <a:extLst>
              <a:ext uri="{FF2B5EF4-FFF2-40B4-BE49-F238E27FC236}">
                <a16:creationId xmlns:a16="http://schemas.microsoft.com/office/drawing/2014/main" id="{D5AF53DA-EE8F-4D57-8E4B-4BC0260A6CD0}"/>
              </a:ext>
              <a:ext uri="{C183D7F6-B498-43B3-948B-1728B52AA6E4}">
                <adec:decorative xmlns:adec="http://schemas.microsoft.com/office/drawing/2017/decorative" val="1"/>
              </a:ext>
            </a:extLst>
          </p:cNvPr>
          <p:cNvSpPr/>
          <p:nvPr/>
        </p:nvSpPr>
        <p:spPr>
          <a:xfrm rot="19943798">
            <a:off x="4668604" y="5879995"/>
            <a:ext cx="5400600" cy="1692595"/>
          </a:xfrm>
          <a:prstGeom prst="flowChartTerminator">
            <a:avLst/>
          </a:prstGeom>
          <a:solidFill>
            <a:srgbClr val="009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lowchart: Terminator 7">
            <a:extLst>
              <a:ext uri="{FF2B5EF4-FFF2-40B4-BE49-F238E27FC236}">
                <a16:creationId xmlns:a16="http://schemas.microsoft.com/office/drawing/2014/main" id="{FB3D96DC-5CB4-4F6F-8B1E-69901727CAAA}"/>
              </a:ext>
              <a:ext uri="{C183D7F6-B498-43B3-948B-1728B52AA6E4}">
                <adec:decorative xmlns:adec="http://schemas.microsoft.com/office/drawing/2017/decorative" val="1"/>
              </a:ext>
            </a:extLst>
          </p:cNvPr>
          <p:cNvSpPr/>
          <p:nvPr/>
        </p:nvSpPr>
        <p:spPr>
          <a:xfrm rot="19943798">
            <a:off x="8269004" y="203309"/>
            <a:ext cx="5400600" cy="1692595"/>
          </a:xfrm>
          <a:prstGeom prst="flowChartTerminator">
            <a:avLst/>
          </a:prstGeom>
          <a:solidFill>
            <a:srgbClr val="EF476F">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BA6973D6-5B44-4A2D-876E-8578C7AF25DC}"/>
              </a:ext>
            </a:extLst>
          </p:cNvPr>
          <p:cNvSpPr>
            <a:spLocks noGrp="1"/>
          </p:cNvSpPr>
          <p:nvPr>
            <p:ph type="title"/>
          </p:nvPr>
        </p:nvSpPr>
        <p:spPr/>
        <p:txBody>
          <a:bodyPr/>
          <a:lstStyle/>
          <a:p>
            <a:r>
              <a:rPr lang="en-GB" dirty="0">
                <a:solidFill>
                  <a:srgbClr val="0C7972"/>
                </a:solidFill>
              </a:rPr>
              <a:t>Check for readability</a:t>
            </a:r>
            <a:endParaRPr lang="en-US" dirty="0">
              <a:solidFill>
                <a:srgbClr val="0C7972"/>
              </a:solidFill>
            </a:endParaRPr>
          </a:p>
        </p:txBody>
      </p:sp>
      <p:sp>
        <p:nvSpPr>
          <p:cNvPr id="3" name="Content Placeholder 2">
            <a:extLst>
              <a:ext uri="{FF2B5EF4-FFF2-40B4-BE49-F238E27FC236}">
                <a16:creationId xmlns:a16="http://schemas.microsoft.com/office/drawing/2014/main" id="{F25608C8-046C-491F-BBBF-A659596AEBCD}"/>
              </a:ext>
            </a:extLst>
          </p:cNvPr>
          <p:cNvSpPr>
            <a:spLocks noGrp="1"/>
          </p:cNvSpPr>
          <p:nvPr>
            <p:ph sz="half" idx="1"/>
          </p:nvPr>
        </p:nvSpPr>
        <p:spPr/>
        <p:txBody>
          <a:bodyPr/>
          <a:lstStyle/>
          <a:p>
            <a:pPr marL="0" indent="0">
              <a:lnSpc>
                <a:spcPct val="107000"/>
              </a:lnSpc>
              <a:spcAft>
                <a:spcPts val="800"/>
              </a:spcAft>
              <a:buNone/>
            </a:pPr>
            <a:r>
              <a:rPr lang="en-GB" kern="100" dirty="0">
                <a:ea typeface="Yu Mincho" panose="02020400000000000000" pitchFamily="18" charset="-128"/>
                <a:cs typeface="Arial" panose="020B0604020202020204" pitchFamily="34" charset="0"/>
              </a:rPr>
              <a:t>Using plain language makes it easier for the reader to get the information fast. Avoid:</a:t>
            </a:r>
          </a:p>
          <a:p>
            <a:pPr>
              <a:lnSpc>
                <a:spcPct val="107000"/>
              </a:lnSpc>
            </a:pPr>
            <a:r>
              <a:rPr lang="en-GB" kern="100" dirty="0">
                <a:ea typeface="Yu Mincho" panose="02020400000000000000" pitchFamily="18" charset="-128"/>
                <a:cs typeface="Arial" panose="020B0604020202020204" pitchFamily="34" charset="0"/>
              </a:rPr>
              <a:t>Long sentences</a:t>
            </a:r>
          </a:p>
          <a:p>
            <a:pPr>
              <a:lnSpc>
                <a:spcPct val="107000"/>
              </a:lnSpc>
            </a:pPr>
            <a:r>
              <a:rPr lang="en-GB" kern="100" dirty="0">
                <a:ea typeface="Yu Mincho" panose="02020400000000000000" pitchFamily="18" charset="-128"/>
                <a:cs typeface="Arial" panose="020B0604020202020204" pitchFamily="34" charset="0"/>
              </a:rPr>
              <a:t>Complicated language</a:t>
            </a:r>
          </a:p>
          <a:p>
            <a:pPr>
              <a:lnSpc>
                <a:spcPct val="107000"/>
              </a:lnSpc>
            </a:pPr>
            <a:r>
              <a:rPr lang="en-GB" kern="100" dirty="0">
                <a:ea typeface="Yu Mincho" panose="02020400000000000000" pitchFamily="18" charset="-128"/>
                <a:cs typeface="Arial" panose="020B0604020202020204" pitchFamily="34" charset="0"/>
              </a:rPr>
              <a:t>Acronyms</a:t>
            </a:r>
          </a:p>
          <a:p>
            <a:pPr>
              <a:lnSpc>
                <a:spcPct val="107000"/>
              </a:lnSpc>
            </a:pPr>
            <a:r>
              <a:rPr lang="en-GB" kern="100" dirty="0">
                <a:ea typeface="Yu Mincho" panose="02020400000000000000" pitchFamily="18" charset="-128"/>
                <a:cs typeface="Arial" panose="020B0604020202020204" pitchFamily="34" charset="0"/>
              </a:rPr>
              <a:t>Abbreviations</a:t>
            </a:r>
          </a:p>
          <a:p>
            <a:pPr>
              <a:lnSpc>
                <a:spcPct val="107000"/>
              </a:lnSpc>
              <a:spcAft>
                <a:spcPts val="800"/>
              </a:spcAft>
            </a:pPr>
            <a:r>
              <a:rPr lang="en-GB" kern="100" dirty="0">
                <a:ea typeface="Yu Mincho" panose="02020400000000000000" pitchFamily="18" charset="-128"/>
                <a:cs typeface="Arial" panose="020B0604020202020204" pitchFamily="34" charset="0"/>
              </a:rPr>
              <a:t>Corporate jargon</a:t>
            </a:r>
          </a:p>
          <a:p>
            <a:endParaRPr lang="en-US" dirty="0"/>
          </a:p>
        </p:txBody>
      </p:sp>
      <p:sp>
        <p:nvSpPr>
          <p:cNvPr id="5" name="Slide Number Placeholder 4">
            <a:extLst>
              <a:ext uri="{FF2B5EF4-FFF2-40B4-BE49-F238E27FC236}">
                <a16:creationId xmlns:a16="http://schemas.microsoft.com/office/drawing/2014/main" id="{11986949-A1F2-45F9-997E-7ADE9151CB2B}"/>
              </a:ext>
            </a:extLst>
          </p:cNvPr>
          <p:cNvSpPr>
            <a:spLocks noGrp="1"/>
          </p:cNvSpPr>
          <p:nvPr>
            <p:ph type="sldNum" sz="quarter" idx="12"/>
          </p:nvPr>
        </p:nvSpPr>
        <p:spPr/>
        <p:txBody>
          <a:bodyPr/>
          <a:lstStyle/>
          <a:p>
            <a:pPr algn="r">
              <a:lnSpc>
                <a:spcPts val="970"/>
              </a:lnSpc>
            </a:pPr>
            <a:fld id="{24A935F8-6F02-46CF-898B-F9D6B7DB9D8E}" type="slidenum">
              <a:rPr lang="en-GB" smtClean="0"/>
              <a:pPr algn="r">
                <a:lnSpc>
                  <a:spcPts val="970"/>
                </a:lnSpc>
              </a:pPr>
              <a:t>6</a:t>
            </a:fld>
            <a:endParaRPr lang="en-GB"/>
          </a:p>
        </p:txBody>
      </p:sp>
      <p:sp>
        <p:nvSpPr>
          <p:cNvPr id="9" name="Circle: Hollow 8">
            <a:extLst>
              <a:ext uri="{FF2B5EF4-FFF2-40B4-BE49-F238E27FC236}">
                <a16:creationId xmlns:a16="http://schemas.microsoft.com/office/drawing/2014/main" id="{ADF98653-1984-4FB5-A27C-B54F67948769}"/>
              </a:ext>
            </a:extLst>
          </p:cNvPr>
          <p:cNvSpPr/>
          <p:nvPr/>
        </p:nvSpPr>
        <p:spPr>
          <a:xfrm>
            <a:off x="-1032604" y="5890773"/>
            <a:ext cx="2520000" cy="2520000"/>
          </a:xfrm>
          <a:prstGeom prst="donut">
            <a:avLst>
              <a:gd name="adj" fmla="val 1635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pic>
        <p:nvPicPr>
          <p:cNvPr id="4" name="Picture 3" descr="A man reading a document">
            <a:extLst>
              <a:ext uri="{FF2B5EF4-FFF2-40B4-BE49-F238E27FC236}">
                <a16:creationId xmlns:a16="http://schemas.microsoft.com/office/drawing/2014/main" id="{209C7DFD-2892-4544-B4D6-D4466AB52F8C}"/>
              </a:ext>
            </a:extLst>
          </p:cNvPr>
          <p:cNvPicPr>
            <a:picLocks noChangeAspect="1"/>
          </p:cNvPicPr>
          <p:nvPr/>
        </p:nvPicPr>
        <p:blipFill rotWithShape="1">
          <a:blip r:embed="rId2"/>
          <a:srcRect l="9046" r="38368"/>
          <a:stretch/>
        </p:blipFill>
        <p:spPr>
          <a:xfrm>
            <a:off x="6930649" y="1442005"/>
            <a:ext cx="3973555" cy="3973990"/>
          </a:xfrm>
          <a:prstGeom prst="ellipse">
            <a:avLst/>
          </a:prstGeom>
        </p:spPr>
      </p:pic>
    </p:spTree>
    <p:extLst>
      <p:ext uri="{BB962C8B-B14F-4D97-AF65-F5344CB8AC3E}">
        <p14:creationId xmlns:p14="http://schemas.microsoft.com/office/powerpoint/2010/main" val="394882724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0012F4-B307-4013-931A-54ECB506B718}"/>
              </a:ext>
            </a:extLst>
          </p:cNvPr>
          <p:cNvSpPr>
            <a:spLocks noGrp="1"/>
          </p:cNvSpPr>
          <p:nvPr>
            <p:ph type="title"/>
          </p:nvPr>
        </p:nvSpPr>
        <p:spPr/>
        <p:txBody>
          <a:bodyPr/>
          <a:lstStyle/>
          <a:p>
            <a:r>
              <a:rPr lang="en-GB" dirty="0"/>
              <a:t>Use fonts that are easy to read</a:t>
            </a:r>
            <a:endParaRPr lang="en-US" dirty="0"/>
          </a:p>
        </p:txBody>
      </p:sp>
      <p:sp>
        <p:nvSpPr>
          <p:cNvPr id="3" name="Content Placeholder 2">
            <a:extLst>
              <a:ext uri="{FF2B5EF4-FFF2-40B4-BE49-F238E27FC236}">
                <a16:creationId xmlns:a16="http://schemas.microsoft.com/office/drawing/2014/main" id="{EF491AD7-6909-4BE3-AD57-731AF9A5FC22}"/>
              </a:ext>
            </a:extLst>
          </p:cNvPr>
          <p:cNvSpPr>
            <a:spLocks noGrp="1"/>
          </p:cNvSpPr>
          <p:nvPr>
            <p:ph idx="1"/>
          </p:nvPr>
        </p:nvSpPr>
        <p:spPr>
          <a:xfrm>
            <a:off x="442911" y="1376364"/>
            <a:ext cx="5581081" cy="5251236"/>
          </a:xfrm>
        </p:spPr>
        <p:txBody>
          <a:bodyPr>
            <a:normAutofit/>
          </a:bodyPr>
          <a:lstStyle/>
          <a:p>
            <a:pPr marL="0" indent="0">
              <a:lnSpc>
                <a:spcPct val="107000"/>
              </a:lnSpc>
              <a:spcAft>
                <a:spcPts val="800"/>
              </a:spcAft>
              <a:buNone/>
            </a:pPr>
            <a:r>
              <a:rPr lang="en-GB" kern="100" dirty="0">
                <a:ea typeface="Yu Mincho" panose="02020400000000000000" pitchFamily="18" charset="-128"/>
                <a:cs typeface="Arial" panose="020B0604020202020204" pitchFamily="34" charset="0"/>
              </a:rPr>
              <a:t>Some fonts are easier to read than others. Colt has chosen Ariel as it is readable and universal. </a:t>
            </a:r>
          </a:p>
          <a:p>
            <a:pPr>
              <a:lnSpc>
                <a:spcPct val="107000"/>
              </a:lnSpc>
              <a:spcAft>
                <a:spcPts val="800"/>
              </a:spcAft>
            </a:pPr>
            <a:r>
              <a:rPr lang="en-GB" kern="100" dirty="0">
                <a:ea typeface="Yu Mincho" panose="02020400000000000000" pitchFamily="18" charset="-128"/>
                <a:cs typeface="Arial" panose="020B0604020202020204" pitchFamily="34" charset="0"/>
              </a:rPr>
              <a:t>Ensure you use Arial, the Colt brand font for documents</a:t>
            </a:r>
          </a:p>
          <a:p>
            <a:pPr>
              <a:lnSpc>
                <a:spcPct val="107000"/>
              </a:lnSpc>
              <a:spcAft>
                <a:spcPts val="800"/>
              </a:spcAft>
            </a:pPr>
            <a:r>
              <a:rPr lang="en-GB" kern="100" dirty="0">
                <a:ea typeface="Yu Mincho" panose="02020400000000000000" pitchFamily="18" charset="-128"/>
                <a:cs typeface="Arial" panose="020B0604020202020204" pitchFamily="34" charset="0"/>
              </a:rPr>
              <a:t>Make sure your text is at least size 12pt in size</a:t>
            </a:r>
          </a:p>
          <a:p>
            <a:pPr>
              <a:lnSpc>
                <a:spcPct val="107000"/>
              </a:lnSpc>
              <a:spcAft>
                <a:spcPts val="800"/>
              </a:spcAft>
            </a:pPr>
            <a:r>
              <a:rPr lang="en-GB" kern="100" dirty="0">
                <a:ea typeface="Yu Mincho" panose="02020400000000000000" pitchFamily="18" charset="-128"/>
                <a:cs typeface="Arial" panose="020B0604020202020204" pitchFamily="34" charset="0"/>
              </a:rPr>
              <a:t>Avoid italics, as it’s harder to read for people with dyslexia and other conditions</a:t>
            </a:r>
          </a:p>
          <a:p>
            <a:pPr>
              <a:lnSpc>
                <a:spcPct val="107000"/>
              </a:lnSpc>
              <a:spcAft>
                <a:spcPts val="800"/>
              </a:spcAft>
            </a:pPr>
            <a:r>
              <a:rPr lang="en-GB" kern="100" dirty="0">
                <a:ea typeface="Yu Mincho" panose="02020400000000000000" pitchFamily="18" charset="-128"/>
                <a:cs typeface="Arial" panose="020B0604020202020204" pitchFamily="34" charset="0"/>
              </a:rPr>
              <a:t>If you use bold to emphasise something, a screen reader will not pick this up. Use another indicator, such as a sub-heading that says ‘important’</a:t>
            </a:r>
          </a:p>
          <a:p>
            <a:endParaRPr lang="en-US" dirty="0"/>
          </a:p>
        </p:txBody>
      </p:sp>
      <p:sp>
        <p:nvSpPr>
          <p:cNvPr id="4" name="Slide Number Placeholder 3">
            <a:extLst>
              <a:ext uri="{FF2B5EF4-FFF2-40B4-BE49-F238E27FC236}">
                <a16:creationId xmlns:a16="http://schemas.microsoft.com/office/drawing/2014/main" id="{2FF31CB8-9D41-4764-99D9-B09A04726E97}"/>
              </a:ext>
            </a:extLst>
          </p:cNvPr>
          <p:cNvSpPr>
            <a:spLocks noGrp="1"/>
          </p:cNvSpPr>
          <p:nvPr>
            <p:ph type="sldNum" sz="quarter" idx="12"/>
          </p:nvPr>
        </p:nvSpPr>
        <p:spPr/>
        <p:txBody>
          <a:bodyPr/>
          <a:lstStyle/>
          <a:p>
            <a:pPr algn="r">
              <a:lnSpc>
                <a:spcPts val="970"/>
              </a:lnSpc>
            </a:pPr>
            <a:fld id="{24A935F8-6F02-46CF-898B-F9D6B7DB9D8E}" type="slidenum">
              <a:rPr lang="en-GB" smtClean="0"/>
              <a:pPr algn="r">
                <a:lnSpc>
                  <a:spcPts val="970"/>
                </a:lnSpc>
              </a:pPr>
              <a:t>7</a:t>
            </a:fld>
            <a:endParaRPr lang="en-GB"/>
          </a:p>
        </p:txBody>
      </p:sp>
      <p:graphicFrame>
        <p:nvGraphicFramePr>
          <p:cNvPr id="5" name="Content Placeholder 2" descr="Easy of reading of different  sizes of fonts on screen">
            <a:extLst>
              <a:ext uri="{FF2B5EF4-FFF2-40B4-BE49-F238E27FC236}">
                <a16:creationId xmlns:a16="http://schemas.microsoft.com/office/drawing/2014/main" id="{2B5BFF28-90CA-4FCD-9C90-B90521719F0C}"/>
              </a:ext>
            </a:extLst>
          </p:cNvPr>
          <p:cNvGraphicFramePr>
            <a:graphicFrameLocks/>
          </p:cNvGraphicFramePr>
          <p:nvPr>
            <p:extLst>
              <p:ext uri="{D42A27DB-BD31-4B8C-83A1-F6EECF244321}">
                <p14:modId xmlns:p14="http://schemas.microsoft.com/office/powerpoint/2010/main" val="310000103"/>
              </p:ext>
            </p:extLst>
          </p:nvPr>
        </p:nvGraphicFramePr>
        <p:xfrm>
          <a:off x="6602968" y="702040"/>
          <a:ext cx="4907957" cy="545392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34129955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lowchart: Terminator 7">
            <a:extLst>
              <a:ext uri="{FF2B5EF4-FFF2-40B4-BE49-F238E27FC236}">
                <a16:creationId xmlns:a16="http://schemas.microsoft.com/office/drawing/2014/main" id="{3C65D897-5F37-4746-934F-DDDB9A41C03D}"/>
              </a:ext>
              <a:ext uri="{C183D7F6-B498-43B3-948B-1728B52AA6E4}">
                <adec:decorative xmlns:adec="http://schemas.microsoft.com/office/drawing/2017/decorative" val="1"/>
              </a:ext>
            </a:extLst>
          </p:cNvPr>
          <p:cNvSpPr/>
          <p:nvPr/>
        </p:nvSpPr>
        <p:spPr>
          <a:xfrm rot="19943798">
            <a:off x="9062532" y="-744741"/>
            <a:ext cx="5400600" cy="1692595"/>
          </a:xfrm>
          <a:prstGeom prst="flowChartTerminator">
            <a:avLst/>
          </a:prstGeom>
          <a:solidFill>
            <a:schemeClr val="accent5">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 name="Title 1">
            <a:extLst>
              <a:ext uri="{FF2B5EF4-FFF2-40B4-BE49-F238E27FC236}">
                <a16:creationId xmlns:a16="http://schemas.microsoft.com/office/drawing/2014/main" id="{D6302376-4ED3-4AA8-B5C7-5BCAC38DDF32}"/>
              </a:ext>
            </a:extLst>
          </p:cNvPr>
          <p:cNvSpPr>
            <a:spLocks noGrp="1"/>
          </p:cNvSpPr>
          <p:nvPr>
            <p:ph type="title"/>
          </p:nvPr>
        </p:nvSpPr>
        <p:spPr/>
        <p:txBody>
          <a:bodyPr/>
          <a:lstStyle/>
          <a:p>
            <a:r>
              <a:rPr lang="en-GB" dirty="0">
                <a:solidFill>
                  <a:srgbClr val="0C7972"/>
                </a:solidFill>
              </a:rPr>
              <a:t>Use lists</a:t>
            </a:r>
            <a:endParaRPr lang="en-US" dirty="0">
              <a:solidFill>
                <a:srgbClr val="0C7972"/>
              </a:solidFill>
            </a:endParaRPr>
          </a:p>
        </p:txBody>
      </p:sp>
      <p:sp>
        <p:nvSpPr>
          <p:cNvPr id="3" name="Content Placeholder 2">
            <a:extLst>
              <a:ext uri="{FF2B5EF4-FFF2-40B4-BE49-F238E27FC236}">
                <a16:creationId xmlns:a16="http://schemas.microsoft.com/office/drawing/2014/main" id="{1E61F456-8850-448E-B482-E5ABF8FCCE00}"/>
              </a:ext>
            </a:extLst>
          </p:cNvPr>
          <p:cNvSpPr>
            <a:spLocks noGrp="1"/>
          </p:cNvSpPr>
          <p:nvPr>
            <p:ph sz="half" idx="1"/>
          </p:nvPr>
        </p:nvSpPr>
        <p:spPr>
          <a:xfrm>
            <a:off x="442914" y="1376364"/>
            <a:ext cx="11278686" cy="4789486"/>
          </a:xfrm>
        </p:spPr>
        <p:txBody>
          <a:bodyPr/>
          <a:lstStyle/>
          <a:p>
            <a:pPr marL="0" indent="0">
              <a:lnSpc>
                <a:spcPct val="107000"/>
              </a:lnSpc>
              <a:spcAft>
                <a:spcPts val="800"/>
              </a:spcAft>
              <a:buNone/>
            </a:pPr>
            <a:r>
              <a:rPr lang="en-GB" kern="100" dirty="0">
                <a:ea typeface="Yu Mincho" panose="02020400000000000000" pitchFamily="18" charset="-128"/>
                <a:cs typeface="Arial" panose="020B0604020202020204" pitchFamily="34" charset="0"/>
              </a:rPr>
              <a:t>Using lists makes your message easier to read.</a:t>
            </a:r>
          </a:p>
          <a:p>
            <a:pPr>
              <a:lnSpc>
                <a:spcPct val="107000"/>
              </a:lnSpc>
              <a:spcAft>
                <a:spcPts val="800"/>
              </a:spcAft>
            </a:pPr>
            <a:r>
              <a:rPr lang="en-GB" kern="100" dirty="0">
                <a:ea typeface="Yu Mincho" panose="02020400000000000000" pitchFamily="18" charset="-128"/>
                <a:cs typeface="Arial" panose="020B0604020202020204" pitchFamily="34" charset="0"/>
              </a:rPr>
              <a:t>Bulleted or numbered lists effectively present information and break up your message into small, manageable chunks. </a:t>
            </a:r>
          </a:p>
          <a:p>
            <a:pPr>
              <a:lnSpc>
                <a:spcPct val="107000"/>
              </a:lnSpc>
              <a:spcAft>
                <a:spcPts val="800"/>
              </a:spcAft>
            </a:pPr>
            <a:r>
              <a:rPr lang="en-GB" kern="100" dirty="0">
                <a:ea typeface="Yu Mincho" panose="02020400000000000000" pitchFamily="18" charset="-128"/>
                <a:cs typeface="Arial" panose="020B0604020202020204" pitchFamily="34" charset="0"/>
              </a:rPr>
              <a:t>Lists are useful when you want to give someone a list of actions or tasks to complete or share a lot of  information</a:t>
            </a:r>
          </a:p>
          <a:p>
            <a:pPr>
              <a:lnSpc>
                <a:spcPct val="107000"/>
              </a:lnSpc>
              <a:spcAft>
                <a:spcPts val="800"/>
              </a:spcAft>
            </a:pPr>
            <a:r>
              <a:rPr lang="en-GB" kern="100" dirty="0">
                <a:ea typeface="Yu Mincho" panose="02020400000000000000" pitchFamily="18" charset="-128"/>
                <a:cs typeface="Arial" panose="020B0604020202020204" pitchFamily="34" charset="0"/>
              </a:rPr>
              <a:t>Formatted lists mean that screen reader users can distinguish this information from the rest of the body text. </a:t>
            </a:r>
          </a:p>
          <a:p>
            <a:pPr>
              <a:lnSpc>
                <a:spcPct val="107000"/>
              </a:lnSpc>
              <a:spcAft>
                <a:spcPts val="800"/>
              </a:spcAft>
            </a:pPr>
            <a:r>
              <a:rPr lang="en-GB" kern="100" dirty="0">
                <a:ea typeface="Yu Mincho" panose="02020400000000000000" pitchFamily="18" charset="-128"/>
                <a:cs typeface="Arial" panose="020B0604020202020204" pitchFamily="34" charset="0"/>
              </a:rPr>
              <a:t>They are helpful for people that use assistive technology.</a:t>
            </a:r>
          </a:p>
          <a:p>
            <a:endParaRPr lang="en-US" dirty="0"/>
          </a:p>
        </p:txBody>
      </p:sp>
      <p:sp>
        <p:nvSpPr>
          <p:cNvPr id="5" name="Slide Number Placeholder 4">
            <a:extLst>
              <a:ext uri="{FF2B5EF4-FFF2-40B4-BE49-F238E27FC236}">
                <a16:creationId xmlns:a16="http://schemas.microsoft.com/office/drawing/2014/main" id="{60BC5F83-2C13-4716-9434-4F0F8F00C2C3}"/>
              </a:ext>
            </a:extLst>
          </p:cNvPr>
          <p:cNvSpPr>
            <a:spLocks noGrp="1"/>
          </p:cNvSpPr>
          <p:nvPr>
            <p:ph type="sldNum" sz="quarter" idx="12"/>
          </p:nvPr>
        </p:nvSpPr>
        <p:spPr/>
        <p:txBody>
          <a:bodyPr/>
          <a:lstStyle/>
          <a:p>
            <a:pPr marL="0" marR="0" lvl="0" indent="0" algn="r" defTabSz="914400" rtl="0" eaLnBrk="1" fontAlgn="auto" latinLnBrk="0" hangingPunct="1">
              <a:lnSpc>
                <a:spcPts val="970"/>
              </a:lnSpc>
              <a:spcBef>
                <a:spcPts val="0"/>
              </a:spcBef>
              <a:spcAft>
                <a:spcPts val="0"/>
              </a:spcAft>
              <a:buClrTx/>
              <a:buSzTx/>
              <a:buFontTx/>
              <a:buNone/>
              <a:tabLst/>
              <a:defRPr/>
            </a:pPr>
            <a:fld id="{24A935F8-6F02-46CF-898B-F9D6B7DB9D8E}" type="slidenum">
              <a:rPr kumimoji="0" lang="en-GB" sz="800" b="0" i="0" u="none" strike="noStrike" kern="1200" cap="none" spc="0" normalizeH="0" baseline="0" noProof="0" smtClean="0">
                <a:ln>
                  <a:noFill/>
                </a:ln>
                <a:solidFill>
                  <a:srgbClr val="FFFFFF"/>
                </a:solidFill>
                <a:effectLst/>
                <a:uLnTx/>
                <a:uFillTx/>
                <a:latin typeface="Arial"/>
                <a:ea typeface="+mn-ea"/>
                <a:cs typeface="+mn-cs"/>
              </a:rPr>
              <a:pPr marL="0" marR="0" lvl="0" indent="0" algn="r" defTabSz="914400" rtl="0" eaLnBrk="1" fontAlgn="auto" latinLnBrk="0" hangingPunct="1">
                <a:lnSpc>
                  <a:spcPts val="970"/>
                </a:lnSpc>
                <a:spcBef>
                  <a:spcPts val="0"/>
                </a:spcBef>
                <a:spcAft>
                  <a:spcPts val="0"/>
                </a:spcAft>
                <a:buClrTx/>
                <a:buSzTx/>
                <a:buFontTx/>
                <a:buNone/>
                <a:tabLst/>
                <a:defRPr/>
              </a:pPr>
              <a:t>8</a:t>
            </a:fld>
            <a:endParaRPr kumimoji="0" lang="en-GB" sz="800" b="0" i="0" u="none" strike="noStrike" kern="1200" cap="none" spc="0" normalizeH="0" baseline="0" noProof="0">
              <a:ln>
                <a:noFill/>
              </a:ln>
              <a:solidFill>
                <a:srgbClr val="FFFFFF"/>
              </a:solidFill>
              <a:effectLst/>
              <a:uLnTx/>
              <a:uFillTx/>
              <a:latin typeface="Arial"/>
              <a:ea typeface="+mn-ea"/>
              <a:cs typeface="+mn-cs"/>
            </a:endParaRPr>
          </a:p>
        </p:txBody>
      </p:sp>
      <p:sp>
        <p:nvSpPr>
          <p:cNvPr id="7" name="Circle: Hollow 6">
            <a:extLst>
              <a:ext uri="{FF2B5EF4-FFF2-40B4-BE49-F238E27FC236}">
                <a16:creationId xmlns:a16="http://schemas.microsoft.com/office/drawing/2014/main" id="{BA056F1E-F6B0-4B10-8F49-FAD7220882A3}"/>
              </a:ext>
              <a:ext uri="{C183D7F6-B498-43B3-948B-1728B52AA6E4}">
                <adec:decorative xmlns:adec="http://schemas.microsoft.com/office/drawing/2017/decorative" val="1"/>
              </a:ext>
            </a:extLst>
          </p:cNvPr>
          <p:cNvSpPr/>
          <p:nvPr/>
        </p:nvSpPr>
        <p:spPr>
          <a:xfrm>
            <a:off x="-900100" y="5727600"/>
            <a:ext cx="1800200" cy="1800000"/>
          </a:xfrm>
          <a:prstGeom prst="donut">
            <a:avLst>
              <a:gd name="adj" fmla="val 16352"/>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pic>
        <p:nvPicPr>
          <p:cNvPr id="10" name="Picture 9" descr="The bullet point menu">
            <a:extLst>
              <a:ext uri="{FF2B5EF4-FFF2-40B4-BE49-F238E27FC236}">
                <a16:creationId xmlns:a16="http://schemas.microsoft.com/office/drawing/2014/main" id="{EC1704C9-7FC1-43B8-889E-C4F241B931FC}"/>
              </a:ext>
            </a:extLst>
          </p:cNvPr>
          <p:cNvPicPr>
            <a:picLocks noChangeAspect="1"/>
          </p:cNvPicPr>
          <p:nvPr/>
        </p:nvPicPr>
        <p:blipFill>
          <a:blip r:embed="rId2"/>
          <a:stretch>
            <a:fillRect/>
          </a:stretch>
        </p:blipFill>
        <p:spPr>
          <a:xfrm>
            <a:off x="3163570" y="5447571"/>
            <a:ext cx="5864860" cy="932769"/>
          </a:xfrm>
          <a:prstGeom prst="rect">
            <a:avLst/>
          </a:prstGeom>
        </p:spPr>
      </p:pic>
    </p:spTree>
    <p:extLst>
      <p:ext uri="{BB962C8B-B14F-4D97-AF65-F5344CB8AC3E}">
        <p14:creationId xmlns:p14="http://schemas.microsoft.com/office/powerpoint/2010/main" val="192648177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26D7EF-ADFE-4D88-918C-62BAF0DE032F}"/>
              </a:ext>
            </a:extLst>
          </p:cNvPr>
          <p:cNvSpPr>
            <a:spLocks noGrp="1"/>
          </p:cNvSpPr>
          <p:nvPr>
            <p:ph type="title"/>
          </p:nvPr>
        </p:nvSpPr>
        <p:spPr/>
        <p:txBody>
          <a:bodyPr/>
          <a:lstStyle/>
          <a:p>
            <a:r>
              <a:rPr lang="en-GB" dirty="0">
                <a:solidFill>
                  <a:srgbClr val="0C7972"/>
                </a:solidFill>
              </a:rPr>
              <a:t>Add alt-text to images</a:t>
            </a:r>
            <a:endParaRPr lang="en-US" dirty="0">
              <a:solidFill>
                <a:srgbClr val="0C7972"/>
              </a:solidFill>
            </a:endParaRPr>
          </a:p>
        </p:txBody>
      </p:sp>
      <p:sp>
        <p:nvSpPr>
          <p:cNvPr id="4" name="Slide Number Placeholder 3">
            <a:extLst>
              <a:ext uri="{FF2B5EF4-FFF2-40B4-BE49-F238E27FC236}">
                <a16:creationId xmlns:a16="http://schemas.microsoft.com/office/drawing/2014/main" id="{A68065FA-A3D7-400D-B1E2-904F5BD6BA3D}"/>
              </a:ext>
            </a:extLst>
          </p:cNvPr>
          <p:cNvSpPr>
            <a:spLocks noGrp="1"/>
          </p:cNvSpPr>
          <p:nvPr>
            <p:ph type="sldNum" sz="quarter" idx="12"/>
          </p:nvPr>
        </p:nvSpPr>
        <p:spPr/>
        <p:txBody>
          <a:bodyPr/>
          <a:lstStyle/>
          <a:p>
            <a:pPr marL="0" marR="0" lvl="0" indent="0" algn="r" defTabSz="914400" rtl="0" eaLnBrk="1" fontAlgn="auto" latinLnBrk="0" hangingPunct="1">
              <a:lnSpc>
                <a:spcPts val="970"/>
              </a:lnSpc>
              <a:spcBef>
                <a:spcPts val="0"/>
              </a:spcBef>
              <a:spcAft>
                <a:spcPts val="0"/>
              </a:spcAft>
              <a:buClrTx/>
              <a:buSzTx/>
              <a:buFontTx/>
              <a:buNone/>
              <a:tabLst/>
              <a:defRPr/>
            </a:pPr>
            <a:fld id="{24A935F8-6F02-46CF-898B-F9D6B7DB9D8E}" type="slidenum">
              <a:rPr kumimoji="0" lang="en-GB" sz="800" b="0" i="0" u="none" strike="noStrike" kern="1200" cap="none" spc="0" normalizeH="0" baseline="0" noProof="0" smtClean="0">
                <a:ln>
                  <a:noFill/>
                </a:ln>
                <a:solidFill>
                  <a:srgbClr val="FFFFFF"/>
                </a:solidFill>
                <a:effectLst/>
                <a:uLnTx/>
                <a:uFillTx/>
                <a:latin typeface="Arial"/>
                <a:ea typeface="+mn-ea"/>
                <a:cs typeface="+mn-cs"/>
              </a:rPr>
              <a:pPr marL="0" marR="0" lvl="0" indent="0" algn="r" defTabSz="914400" rtl="0" eaLnBrk="1" fontAlgn="auto" latinLnBrk="0" hangingPunct="1">
                <a:lnSpc>
                  <a:spcPts val="970"/>
                </a:lnSpc>
                <a:spcBef>
                  <a:spcPts val="0"/>
                </a:spcBef>
                <a:spcAft>
                  <a:spcPts val="0"/>
                </a:spcAft>
                <a:buClrTx/>
                <a:buSzTx/>
                <a:buFontTx/>
                <a:buNone/>
                <a:tabLst/>
                <a:defRPr/>
              </a:pPr>
              <a:t>9</a:t>
            </a:fld>
            <a:endParaRPr kumimoji="0" lang="en-GB" sz="800" b="0" i="0" u="none" strike="noStrike" kern="1200" cap="none" spc="0" normalizeH="0" baseline="0" noProof="0">
              <a:ln>
                <a:noFill/>
              </a:ln>
              <a:solidFill>
                <a:srgbClr val="FFFFFF"/>
              </a:solidFill>
              <a:effectLst/>
              <a:uLnTx/>
              <a:uFillTx/>
              <a:latin typeface="Arial"/>
              <a:ea typeface="+mn-ea"/>
              <a:cs typeface="+mn-cs"/>
            </a:endParaRPr>
          </a:p>
        </p:txBody>
      </p:sp>
      <p:sp>
        <p:nvSpPr>
          <p:cNvPr id="6" name="Content Placeholder 5">
            <a:extLst>
              <a:ext uri="{FF2B5EF4-FFF2-40B4-BE49-F238E27FC236}">
                <a16:creationId xmlns:a16="http://schemas.microsoft.com/office/drawing/2014/main" id="{126AD67D-19CF-D284-B09D-2F14F793D716}"/>
              </a:ext>
            </a:extLst>
          </p:cNvPr>
          <p:cNvSpPr>
            <a:spLocks noGrp="1"/>
          </p:cNvSpPr>
          <p:nvPr>
            <p:ph idx="1"/>
          </p:nvPr>
        </p:nvSpPr>
        <p:spPr>
          <a:xfrm>
            <a:off x="442911" y="1376364"/>
            <a:ext cx="8677425" cy="4789486"/>
          </a:xfrm>
        </p:spPr>
        <p:txBody>
          <a:bodyPr>
            <a:normAutofit/>
          </a:bodyPr>
          <a:lstStyle/>
          <a:p>
            <a:pPr marL="0" indent="0">
              <a:lnSpc>
                <a:spcPct val="107000"/>
              </a:lnSpc>
              <a:spcAft>
                <a:spcPts val="800"/>
              </a:spcAft>
              <a:buNone/>
            </a:pPr>
            <a:r>
              <a:rPr lang="en-GB" kern="100" dirty="0">
                <a:ea typeface="Yu Mincho" panose="02020400000000000000" pitchFamily="18" charset="-128"/>
                <a:cs typeface="Arial" panose="020B0604020202020204" pitchFamily="34" charset="0"/>
              </a:rPr>
              <a:t>Newsletters and marketing emails often contain images. But these images are not always accessible.</a:t>
            </a:r>
          </a:p>
          <a:p>
            <a:pPr marL="0" indent="0">
              <a:lnSpc>
                <a:spcPct val="107000"/>
              </a:lnSpc>
              <a:spcAft>
                <a:spcPts val="800"/>
              </a:spcAft>
              <a:buNone/>
            </a:pPr>
            <a:r>
              <a:rPr lang="en-GB" kern="100" dirty="0">
                <a:ea typeface="Yu Mincho" panose="02020400000000000000" pitchFamily="18" charset="-128"/>
                <a:cs typeface="Arial" panose="020B0604020202020204" pitchFamily="34" charset="0"/>
              </a:rPr>
              <a:t>To make them accessible, add alt-text, unless they are decorative.</a:t>
            </a:r>
          </a:p>
          <a:p>
            <a:pPr>
              <a:lnSpc>
                <a:spcPct val="107000"/>
              </a:lnSpc>
              <a:spcAft>
                <a:spcPts val="800"/>
              </a:spcAft>
            </a:pPr>
            <a:r>
              <a:rPr lang="en-GB" kern="100" dirty="0">
                <a:ea typeface="Yu Mincho" panose="02020400000000000000" pitchFamily="18" charset="-128"/>
                <a:cs typeface="Arial" panose="020B0604020202020204" pitchFamily="34" charset="0"/>
              </a:rPr>
              <a:t>Alt-text provides a written description of the image which is read out by screen readers. </a:t>
            </a:r>
          </a:p>
          <a:p>
            <a:pPr>
              <a:lnSpc>
                <a:spcPct val="107000"/>
              </a:lnSpc>
              <a:spcAft>
                <a:spcPts val="800"/>
              </a:spcAft>
            </a:pPr>
            <a:r>
              <a:rPr lang="en-GB" kern="100" dirty="0">
                <a:ea typeface="Yu Mincho" panose="02020400000000000000" pitchFamily="18" charset="-128"/>
                <a:cs typeface="Arial" panose="020B0604020202020204" pitchFamily="34" charset="0"/>
              </a:rPr>
              <a:t>It also benefits sighted users when images do not load due to a poor or slow internet connection.</a:t>
            </a:r>
          </a:p>
          <a:p>
            <a:pPr>
              <a:lnSpc>
                <a:spcPct val="107000"/>
              </a:lnSpc>
              <a:spcAft>
                <a:spcPts val="800"/>
              </a:spcAft>
            </a:pPr>
            <a:r>
              <a:rPr lang="en-GB" kern="100" dirty="0">
                <a:ea typeface="Yu Mincho" panose="02020400000000000000" pitchFamily="18" charset="-128"/>
                <a:cs typeface="Arial" panose="020B0604020202020204" pitchFamily="34" charset="0"/>
              </a:rPr>
              <a:t>This includes any images in your email signatures.</a:t>
            </a:r>
          </a:p>
          <a:p>
            <a:pPr>
              <a:lnSpc>
                <a:spcPct val="107000"/>
              </a:lnSpc>
              <a:spcAft>
                <a:spcPts val="800"/>
              </a:spcAft>
            </a:pPr>
            <a:r>
              <a:rPr lang="en-GB" b="1" kern="100" dirty="0">
                <a:ea typeface="Yu Mincho" panose="02020400000000000000" pitchFamily="18" charset="-128"/>
                <a:cs typeface="Arial" panose="020B0604020202020204" pitchFamily="34" charset="0"/>
              </a:rPr>
              <a:t>Never </a:t>
            </a:r>
            <a:r>
              <a:rPr lang="en-GB" kern="100" dirty="0">
                <a:ea typeface="Yu Mincho" panose="02020400000000000000" pitchFamily="18" charset="-128"/>
                <a:cs typeface="Arial" panose="020B0604020202020204" pitchFamily="34" charset="0"/>
              </a:rPr>
              <a:t>use the “Generate alt text for me”, as this is usually wrong.</a:t>
            </a:r>
          </a:p>
          <a:p>
            <a:endParaRPr lang="en-GB" dirty="0"/>
          </a:p>
          <a:p>
            <a:endParaRPr lang="en-GB" dirty="0"/>
          </a:p>
        </p:txBody>
      </p:sp>
      <p:sp>
        <p:nvSpPr>
          <p:cNvPr id="7" name="Flowchart: Terminator 6">
            <a:extLst>
              <a:ext uri="{FF2B5EF4-FFF2-40B4-BE49-F238E27FC236}">
                <a16:creationId xmlns:a16="http://schemas.microsoft.com/office/drawing/2014/main" id="{249CEECB-EA3A-4696-919F-CECD6ED4395C}"/>
              </a:ext>
              <a:ext uri="{C183D7F6-B498-43B3-948B-1728B52AA6E4}">
                <adec:decorative xmlns:adec="http://schemas.microsoft.com/office/drawing/2017/decorative" val="1"/>
              </a:ext>
            </a:extLst>
          </p:cNvPr>
          <p:cNvSpPr/>
          <p:nvPr/>
        </p:nvSpPr>
        <p:spPr>
          <a:xfrm rot="19943798">
            <a:off x="318993" y="6312041"/>
            <a:ext cx="5400600" cy="1692595"/>
          </a:xfrm>
          <a:prstGeom prst="flowChartTerminator">
            <a:avLst/>
          </a:prstGeom>
          <a:solidFill>
            <a:schemeClr val="accent1">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9" name="Flowchart: Terminator 8">
            <a:extLst>
              <a:ext uri="{FF2B5EF4-FFF2-40B4-BE49-F238E27FC236}">
                <a16:creationId xmlns:a16="http://schemas.microsoft.com/office/drawing/2014/main" id="{A7328B55-B148-466C-AFD2-E348494565E7}"/>
              </a:ext>
              <a:ext uri="{C183D7F6-B498-43B3-948B-1728B52AA6E4}">
                <adec:decorative xmlns:adec="http://schemas.microsoft.com/office/drawing/2017/decorative" val="1"/>
              </a:ext>
            </a:extLst>
          </p:cNvPr>
          <p:cNvSpPr/>
          <p:nvPr/>
        </p:nvSpPr>
        <p:spPr>
          <a:xfrm rot="19943798">
            <a:off x="-719314" y="6058187"/>
            <a:ext cx="3265486" cy="912022"/>
          </a:xfrm>
          <a:prstGeom prst="flowChartTerminator">
            <a:avLst/>
          </a:prstGeom>
          <a:solidFill>
            <a:srgbClr val="EF47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pic>
        <p:nvPicPr>
          <p:cNvPr id="10" name="Picture 9" descr="The Alternative Text menu">
            <a:extLst>
              <a:ext uri="{FF2B5EF4-FFF2-40B4-BE49-F238E27FC236}">
                <a16:creationId xmlns:a16="http://schemas.microsoft.com/office/drawing/2014/main" id="{4AB07CD6-3EED-4B3E-9086-0E62F32EFB55}"/>
              </a:ext>
            </a:extLst>
          </p:cNvPr>
          <p:cNvPicPr>
            <a:picLocks noChangeAspect="1"/>
          </p:cNvPicPr>
          <p:nvPr/>
        </p:nvPicPr>
        <p:blipFill>
          <a:blip r:embed="rId3"/>
          <a:stretch>
            <a:fillRect/>
          </a:stretch>
        </p:blipFill>
        <p:spPr>
          <a:xfrm>
            <a:off x="9334863" y="1376364"/>
            <a:ext cx="2414225" cy="3548180"/>
          </a:xfrm>
          <a:prstGeom prst="rect">
            <a:avLst/>
          </a:prstGeom>
        </p:spPr>
      </p:pic>
    </p:spTree>
    <p:extLst>
      <p:ext uri="{BB962C8B-B14F-4D97-AF65-F5344CB8AC3E}">
        <p14:creationId xmlns:p14="http://schemas.microsoft.com/office/powerpoint/2010/main" val="41744037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lt 2021">
  <a:themeElements>
    <a:clrScheme name="Colt">
      <a:dk1>
        <a:srgbClr val="000000"/>
      </a:dk1>
      <a:lt1>
        <a:srgbClr val="FFFFFF"/>
      </a:lt1>
      <a:dk2>
        <a:srgbClr val="484A47"/>
      </a:dk2>
      <a:lt2>
        <a:srgbClr val="F5F5F5"/>
      </a:lt2>
      <a:accent1>
        <a:srgbClr val="00D7BD"/>
      </a:accent1>
      <a:accent2>
        <a:srgbClr val="00A59B"/>
      </a:accent2>
      <a:accent3>
        <a:srgbClr val="0099FF"/>
      </a:accent3>
      <a:accent4>
        <a:srgbClr val="500091"/>
      </a:accent4>
      <a:accent5>
        <a:srgbClr val="FFC43D"/>
      </a:accent5>
      <a:accent6>
        <a:srgbClr val="EF476F"/>
      </a:accent6>
      <a:hlink>
        <a:srgbClr val="0099FF"/>
      </a:hlink>
      <a:folHlink>
        <a:srgbClr val="500091"/>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rtlCol="0">
        <a:spAutoFit/>
      </a:bodyPr>
      <a:lstStyle>
        <a:defPPr algn="l">
          <a:defRPr dirty="0" err="1" smtClean="0">
            <a:solidFill>
              <a:schemeClr val="tx2"/>
            </a:solidFill>
          </a:defRPr>
        </a:defPPr>
      </a:lstStyle>
    </a:txDef>
  </a:objectDefaults>
  <a:extraClrSchemeLst/>
  <a:extLst>
    <a:ext uri="{05A4C25C-085E-4340-85A3-A5531E510DB2}">
      <thm15:themeFamily xmlns:thm15="http://schemas.microsoft.com/office/thememl/2012/main" name="Full-set-Colt-template 21" id="{81C01B69-38F2-1649-BAAF-29DEA9AF0A2C}" vid="{3121AE5E-B4EE-2747-BC8A-161935D76BF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Full-set-Colt-template 21" id="{81C01B69-38F2-1649-BAAF-29DEA9AF0A2C}" vid="{7140FF50-EC94-BF42-A69B-370EE53A5942}"/>
    </a:ext>
  </a:extLst>
</a:theme>
</file>

<file path=ppt/theme/theme3.xml><?xml version="1.0" encoding="utf-8"?>
<a:theme xmlns:a="http://schemas.openxmlformats.org/drawingml/2006/main" name="1_Colt 2021">
  <a:themeElements>
    <a:clrScheme name="Colt">
      <a:dk1>
        <a:srgbClr val="000000"/>
      </a:dk1>
      <a:lt1>
        <a:srgbClr val="FFFFFF"/>
      </a:lt1>
      <a:dk2>
        <a:srgbClr val="484A47"/>
      </a:dk2>
      <a:lt2>
        <a:srgbClr val="F5F5F5"/>
      </a:lt2>
      <a:accent1>
        <a:srgbClr val="00D7BD"/>
      </a:accent1>
      <a:accent2>
        <a:srgbClr val="00A59B"/>
      </a:accent2>
      <a:accent3>
        <a:srgbClr val="0099FF"/>
      </a:accent3>
      <a:accent4>
        <a:srgbClr val="500091"/>
      </a:accent4>
      <a:accent5>
        <a:srgbClr val="FFC43D"/>
      </a:accent5>
      <a:accent6>
        <a:srgbClr val="EF476F"/>
      </a:accent6>
      <a:hlink>
        <a:srgbClr val="0099FF"/>
      </a:hlink>
      <a:folHlink>
        <a:srgbClr val="500091"/>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rtlCol="0">
        <a:spAutoFit/>
      </a:bodyPr>
      <a:lstStyle>
        <a:defPPr algn="l">
          <a:defRPr dirty="0" err="1" smtClean="0">
            <a:solidFill>
              <a:schemeClr val="tx2"/>
            </a:solidFill>
          </a:defRPr>
        </a:defPPr>
      </a:lstStyle>
    </a:txDef>
  </a:objectDefaults>
  <a:extraClrSchemeLst/>
  <a:extLst>
    <a:ext uri="{05A4C25C-085E-4340-85A3-A5531E510DB2}">
      <thm15:themeFamily xmlns:thm15="http://schemas.microsoft.com/office/thememl/2012/main" name="Full-set-Colt-template 21" id="{81C01B69-38F2-1649-BAAF-29DEA9AF0A2C}" vid="{730076EC-D4E9-134F-8D96-E9E660526CD9}"/>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e6a95481-9c2e-4f19-aa8f-4e286a38f563">
      <Terms xmlns="http://schemas.microsoft.com/office/infopath/2007/PartnerControls"/>
    </lcf76f155ced4ddcb4097134ff3c332f>
    <TaxCatchAll xmlns="6f73a48d-fe21-4324-8bfe-f1572f44ea75"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E8A022230CC18F4DA233D8E98525674D" ma:contentTypeVersion="16" ma:contentTypeDescription="Create a new document." ma:contentTypeScope="" ma:versionID="24a772f7ff7593663f12f1d4b1bb3272">
  <xsd:schema xmlns:xsd="http://www.w3.org/2001/XMLSchema" xmlns:xs="http://www.w3.org/2001/XMLSchema" xmlns:p="http://schemas.microsoft.com/office/2006/metadata/properties" xmlns:ns2="e6a95481-9c2e-4f19-aa8f-4e286a38f563" xmlns:ns3="6f73a48d-fe21-4324-8bfe-f1572f44ea75" targetNamespace="http://schemas.microsoft.com/office/2006/metadata/properties" ma:root="true" ma:fieldsID="c1ac734203afea648ee4acd6efc6e619" ns2:_="" ns3:_="">
    <xsd:import namespace="e6a95481-9c2e-4f19-aa8f-4e286a38f563"/>
    <xsd:import namespace="6f73a48d-fe21-4324-8bfe-f1572f44ea75"/>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lcf76f155ced4ddcb4097134ff3c332f" minOccurs="0"/>
                <xsd:element ref="ns3:TaxCatchAll"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6a95481-9c2e-4f19-aa8f-4e286a38f56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8268396b-371b-4a59-b694-f90548ebff47"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f73a48d-fe21-4324-8bfe-f1572f44ea75"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196eccd8-1694-4105-9411-ff3318c2369f}" ma:internalName="TaxCatchAll" ma:showField="CatchAllData" ma:web="6f73a48d-fe21-4324-8bfe-f1572f44ea7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511BA9E-0534-4354-AAA4-E8448D2FC9BA}">
  <ds:schemaRefs>
    <ds:schemaRef ds:uri="http://schemas.microsoft.com/office/2006/metadata/properties"/>
    <ds:schemaRef ds:uri="http://schemas.microsoft.com/office/infopath/2007/PartnerControls"/>
    <ds:schemaRef ds:uri="e6a95481-9c2e-4f19-aa8f-4e286a38f563"/>
    <ds:schemaRef ds:uri="6f73a48d-fe21-4324-8bfe-f1572f44ea75"/>
  </ds:schemaRefs>
</ds:datastoreItem>
</file>

<file path=customXml/itemProps2.xml><?xml version="1.0" encoding="utf-8"?>
<ds:datastoreItem xmlns:ds="http://schemas.openxmlformats.org/officeDocument/2006/customXml" ds:itemID="{5B342242-F440-4CC4-9943-EAA7498356C5}">
  <ds:schemaRefs>
    <ds:schemaRef ds:uri="http://schemas.microsoft.com/sharepoint/v3/contenttype/forms"/>
  </ds:schemaRefs>
</ds:datastoreItem>
</file>

<file path=customXml/itemProps3.xml><?xml version="1.0" encoding="utf-8"?>
<ds:datastoreItem xmlns:ds="http://schemas.openxmlformats.org/officeDocument/2006/customXml" ds:itemID="{76798F70-C6A0-4BBB-AB23-766972E0481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6a95481-9c2e-4f19-aa8f-4e286a38f563"/>
    <ds:schemaRef ds:uri="6f73a48d-fe21-4324-8bfe-f1572f44ea7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Colt-template Full set 22 - Copy</Template>
  <TotalTime>16</TotalTime>
  <Words>993</Words>
  <Application>Microsoft Macintosh PowerPoint</Application>
  <PresentationFormat>Widescreen</PresentationFormat>
  <Paragraphs>111</Paragraphs>
  <Slides>14</Slides>
  <Notes>5</Notes>
  <HiddenSlides>0</HiddenSlides>
  <MMClips>0</MMClips>
  <ScaleCrop>false</ScaleCrop>
  <HeadingPairs>
    <vt:vector size="8" baseType="variant">
      <vt:variant>
        <vt:lpstr>Fonts Used</vt:lpstr>
      </vt:variant>
      <vt:variant>
        <vt:i4>3</vt:i4>
      </vt:variant>
      <vt:variant>
        <vt:lpstr>Theme</vt:lpstr>
      </vt:variant>
      <vt:variant>
        <vt:i4>3</vt:i4>
      </vt:variant>
      <vt:variant>
        <vt:lpstr>Embedded OLE Servers</vt:lpstr>
      </vt:variant>
      <vt:variant>
        <vt:i4>1</vt:i4>
      </vt:variant>
      <vt:variant>
        <vt:lpstr>Slide Titles</vt:lpstr>
      </vt:variant>
      <vt:variant>
        <vt:i4>14</vt:i4>
      </vt:variant>
    </vt:vector>
  </HeadingPairs>
  <TitlesOfParts>
    <vt:vector size="21" baseType="lpstr">
      <vt:lpstr>Yu Mincho</vt:lpstr>
      <vt:lpstr>Arial</vt:lpstr>
      <vt:lpstr>Calibri</vt:lpstr>
      <vt:lpstr>Colt 2021</vt:lpstr>
      <vt:lpstr>Office Theme</vt:lpstr>
      <vt:lpstr>1_Colt 2021</vt:lpstr>
      <vt:lpstr>think-cell Slide</vt:lpstr>
      <vt:lpstr>Optimising Accessibility</vt:lpstr>
      <vt:lpstr>Accessibility in Email </vt:lpstr>
      <vt:lpstr>Subject line</vt:lpstr>
      <vt:lpstr>Use heading styles</vt:lpstr>
      <vt:lpstr>Use accessible colours</vt:lpstr>
      <vt:lpstr>Check for readability</vt:lpstr>
      <vt:lpstr>Use fonts that are easy to read</vt:lpstr>
      <vt:lpstr>Use lists</vt:lpstr>
      <vt:lpstr>Add alt-text to images</vt:lpstr>
      <vt:lpstr>Make link text meaningful</vt:lpstr>
      <vt:lpstr>Formatting your emails</vt:lpstr>
      <vt:lpstr>Include a plain-text version</vt:lpstr>
      <vt:lpstr>Use in-built accessibility checker</vt:lpstr>
      <vt:lpstr>Further sources of inform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king email accessible in Outlook</dc:title>
  <dc:creator>Louise</dc:creator>
  <cp:lastModifiedBy>Gareth Ford Williams</cp:lastModifiedBy>
  <cp:revision>10</cp:revision>
  <dcterms:created xsi:type="dcterms:W3CDTF">2023-08-14T13:20:34Z</dcterms:created>
  <dcterms:modified xsi:type="dcterms:W3CDTF">2024-07-01T12:28: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8A022230CC18F4DA233D8E98525674D</vt:lpwstr>
  </property>
</Properties>
</file>